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media/image25.jpg" ContentType="image/jpeg"/>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media/image99.jpg" ContentType="image/jpeg"/>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6"/>
  </p:notesMasterIdLst>
  <p:sldIdLst>
    <p:sldId id="1122" r:id="rId2"/>
    <p:sldId id="554" r:id="rId3"/>
    <p:sldId id="1117" r:id="rId4"/>
    <p:sldId id="2145706845" r:id="rId5"/>
    <p:sldId id="1123" r:id="rId6"/>
    <p:sldId id="1124" r:id="rId7"/>
    <p:sldId id="1118" r:id="rId8"/>
    <p:sldId id="1089" r:id="rId9"/>
    <p:sldId id="258" r:id="rId10"/>
    <p:sldId id="1109" r:id="rId11"/>
    <p:sldId id="2145706842" r:id="rId12"/>
    <p:sldId id="2145706841" r:id="rId13"/>
    <p:sldId id="2145706843" r:id="rId14"/>
    <p:sldId id="1092" r:id="rId15"/>
    <p:sldId id="264" r:id="rId16"/>
    <p:sldId id="2145706712" r:id="rId17"/>
    <p:sldId id="2145706713" r:id="rId18"/>
    <p:sldId id="2145706736" r:id="rId19"/>
    <p:sldId id="2145706704" r:id="rId20"/>
    <p:sldId id="2145706706" r:id="rId21"/>
    <p:sldId id="576" r:id="rId22"/>
    <p:sldId id="2145706832" r:id="rId23"/>
    <p:sldId id="2134805418" r:id="rId24"/>
    <p:sldId id="2134805388" r:id="rId25"/>
    <p:sldId id="2134805411" r:id="rId26"/>
    <p:sldId id="2134805412" r:id="rId27"/>
    <p:sldId id="2134805414" r:id="rId28"/>
    <p:sldId id="2134805425" r:id="rId29"/>
    <p:sldId id="2134805392" r:id="rId30"/>
    <p:sldId id="2134805428" r:id="rId31"/>
    <p:sldId id="2145706834" r:id="rId32"/>
    <p:sldId id="2145706835" r:id="rId33"/>
    <p:sldId id="2145706836" r:id="rId34"/>
    <p:sldId id="2134805401" r:id="rId35"/>
    <p:sldId id="2134805427" r:id="rId36"/>
    <p:sldId id="2134805402" r:id="rId37"/>
    <p:sldId id="2134805417" r:id="rId38"/>
    <p:sldId id="2145706788" r:id="rId39"/>
    <p:sldId id="2145706790" r:id="rId40"/>
    <p:sldId id="2974" r:id="rId41"/>
    <p:sldId id="1116" r:id="rId42"/>
    <p:sldId id="2145706839" r:id="rId43"/>
    <p:sldId id="1107" r:id="rId44"/>
    <p:sldId id="2145706837" r:id="rId45"/>
  </p:sldIdLst>
  <p:sldSz cx="12192000" cy="6858000"/>
  <p:notesSz cx="9906000" cy="6858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6C558BA0-C06D-4D83-8174-48540801B94D}">
          <p14:sldIdLst>
            <p14:sldId id="1122"/>
            <p14:sldId id="554"/>
            <p14:sldId id="1117"/>
            <p14:sldId id="2145706845"/>
            <p14:sldId id="1123"/>
            <p14:sldId id="1124"/>
            <p14:sldId id="1118"/>
            <p14:sldId id="1089"/>
            <p14:sldId id="258"/>
            <p14:sldId id="1109"/>
            <p14:sldId id="2145706842"/>
            <p14:sldId id="2145706841"/>
            <p14:sldId id="2145706843"/>
            <p14:sldId id="1092"/>
            <p14:sldId id="264"/>
            <p14:sldId id="2145706712"/>
            <p14:sldId id="2145706713"/>
            <p14:sldId id="2145706736"/>
            <p14:sldId id="2145706704"/>
            <p14:sldId id="2145706706"/>
            <p14:sldId id="576"/>
            <p14:sldId id="2145706832"/>
            <p14:sldId id="2134805418"/>
            <p14:sldId id="2134805388"/>
            <p14:sldId id="2134805411"/>
            <p14:sldId id="2134805412"/>
            <p14:sldId id="2134805414"/>
            <p14:sldId id="2134805425"/>
            <p14:sldId id="2134805392"/>
            <p14:sldId id="2134805428"/>
            <p14:sldId id="2145706834"/>
            <p14:sldId id="2145706835"/>
            <p14:sldId id="2145706836"/>
            <p14:sldId id="2134805401"/>
            <p14:sldId id="2134805427"/>
            <p14:sldId id="2134805402"/>
            <p14:sldId id="2134805417"/>
            <p14:sldId id="2145706788"/>
            <p14:sldId id="2145706790"/>
            <p14:sldId id="2974"/>
            <p14:sldId id="1116"/>
            <p14:sldId id="2145706839"/>
          </p14:sldIdLst>
        </p14:section>
        <p14:section name="Backup" id="{243C3CD1-B910-4B7C-A705-A1D77848A299}">
          <p14:sldIdLst>
            <p14:sldId id="1107"/>
            <p14:sldId id="2145706837"/>
          </p14:sldIdLst>
        </p14:section>
      </p14:sectionLst>
    </p:ext>
    <p:ext uri="{EFAFB233-063F-42B5-8137-9DF3F51BA10A}">
      <p15:sldGuideLst xmlns:p15="http://schemas.microsoft.com/office/powerpoint/2012/main">
        <p15:guide id="1" orient="horz" pos="2880" userDrawn="1">
          <p15:clr>
            <a:srgbClr val="A4A3A4"/>
          </p15:clr>
        </p15:guide>
        <p15:guide id="2" pos="26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561FACA-DB68-4FAB-7F8F-6309C8B97878}" name="Noelle Kist" initials="NK" userId="5466ebc861eeabb5"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895E"/>
    <a:srgbClr val="00A070"/>
    <a:srgbClr val="FFFFCC"/>
    <a:srgbClr val="374151"/>
    <a:srgbClr val="FFFFFF"/>
    <a:srgbClr val="6464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8" autoAdjust="0"/>
    <p:restoredTop sz="83959" autoAdjust="0"/>
  </p:normalViewPr>
  <p:slideViewPr>
    <p:cSldViewPr>
      <p:cViewPr varScale="1">
        <p:scale>
          <a:sx n="85" d="100"/>
          <a:sy n="85" d="100"/>
        </p:scale>
        <p:origin x="641" y="65"/>
      </p:cViewPr>
      <p:guideLst>
        <p:guide orient="horz" pos="2880"/>
        <p:guide pos="2640"/>
      </p:guideLst>
    </p:cSldViewPr>
  </p:slideViewPr>
  <p:outlineViewPr>
    <p:cViewPr>
      <p:scale>
        <a:sx n="33" d="100"/>
        <a:sy n="33" d="100"/>
      </p:scale>
      <p:origin x="0" y="-10304"/>
    </p:cViewPr>
  </p:outlineViewPr>
  <p:notesTextViewPr>
    <p:cViewPr>
      <p:scale>
        <a:sx n="100" d="100"/>
        <a:sy n="100" d="100"/>
      </p:scale>
      <p:origin x="0" y="0"/>
    </p:cViewPr>
  </p:notesTextViewPr>
  <p:sorterViewPr>
    <p:cViewPr>
      <p:scale>
        <a:sx n="100" d="100"/>
        <a:sy n="100" d="100"/>
      </p:scale>
      <p:origin x="0" y="-444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51" Type="http://schemas.microsoft.com/office/2018/10/relationships/authors" Targe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AF4A68-5820-714D-88D7-49F661B505B9}" type="doc">
      <dgm:prSet loTypeId="urn:microsoft.com/office/officeart/2005/8/layout/hChevron3" loCatId="" qsTypeId="urn:microsoft.com/office/officeart/2005/8/quickstyle/simple1" qsCatId="simple" csTypeId="urn:microsoft.com/office/officeart/2005/8/colors/accent1_2" csCatId="accent1" phldr="1"/>
      <dgm:spPr/>
    </dgm:pt>
    <dgm:pt modelId="{B08AC848-DD09-034B-AF14-916BC9362CC8}">
      <dgm:prSet phldrT="[Text]" custT="1"/>
      <dgm:spPr>
        <a:solidFill>
          <a:schemeClr val="tx2">
            <a:alpha val="75000"/>
          </a:schemeClr>
        </a:solidFill>
      </dgm:spPr>
      <dgm:t>
        <a:bodyPr/>
        <a:lstStyle/>
        <a:p>
          <a:pPr algn="l"/>
          <a:r>
            <a:rPr lang="de-DE" sz="1800" err="1"/>
            <a:t>ChatGPT</a:t>
          </a:r>
          <a:r>
            <a:rPr lang="de-DE" sz="1800"/>
            <a:t> kann viel – </a:t>
          </a:r>
          <a:br>
            <a:rPr lang="de-DE" sz="1800"/>
          </a:br>
          <a:r>
            <a:rPr lang="de-DE" sz="1800"/>
            <a:t>aber keine Gedanken lesen</a:t>
          </a:r>
        </a:p>
      </dgm:t>
    </dgm:pt>
    <dgm:pt modelId="{18767FD0-A00E-9349-926C-F94DF820F511}" type="parTrans" cxnId="{B4707D7B-09F2-4641-A9AC-134088B5E0CF}">
      <dgm:prSet/>
      <dgm:spPr/>
      <dgm:t>
        <a:bodyPr/>
        <a:lstStyle/>
        <a:p>
          <a:endParaRPr lang="de-DE"/>
        </a:p>
      </dgm:t>
    </dgm:pt>
    <dgm:pt modelId="{5E2FD885-A407-9144-8A73-22603E8D639D}" type="sibTrans" cxnId="{B4707D7B-09F2-4641-A9AC-134088B5E0CF}">
      <dgm:prSet/>
      <dgm:spPr/>
      <dgm:t>
        <a:bodyPr/>
        <a:lstStyle/>
        <a:p>
          <a:endParaRPr lang="de-DE"/>
        </a:p>
      </dgm:t>
    </dgm:pt>
    <dgm:pt modelId="{2DBB9DD3-3500-4348-816D-629F6DA306D8}">
      <dgm:prSet phldrT="[Text]" custT="1"/>
      <dgm:spPr>
        <a:solidFill>
          <a:schemeClr val="tx2">
            <a:alpha val="85000"/>
          </a:schemeClr>
        </a:solidFill>
      </dgm:spPr>
      <dgm:t>
        <a:bodyPr/>
        <a:lstStyle/>
        <a:p>
          <a:pPr algn="l"/>
          <a:r>
            <a:rPr lang="de-DE" sz="1800" dirty="0"/>
            <a:t>Anweisungen so detailliert 	wie möglich formulieren</a:t>
          </a:r>
        </a:p>
      </dgm:t>
    </dgm:pt>
    <dgm:pt modelId="{5661B768-4633-9C4C-8073-1DCA5D2C144F}" type="parTrans" cxnId="{4CA3670F-4C70-BE40-9645-C8A6AB40D47F}">
      <dgm:prSet/>
      <dgm:spPr/>
      <dgm:t>
        <a:bodyPr/>
        <a:lstStyle/>
        <a:p>
          <a:endParaRPr lang="de-DE"/>
        </a:p>
      </dgm:t>
    </dgm:pt>
    <dgm:pt modelId="{33BB26EE-C26E-0141-A047-96DBFF9DA329}" type="sibTrans" cxnId="{4CA3670F-4C70-BE40-9645-C8A6AB40D47F}">
      <dgm:prSet/>
      <dgm:spPr/>
      <dgm:t>
        <a:bodyPr/>
        <a:lstStyle/>
        <a:p>
          <a:endParaRPr lang="de-DE"/>
        </a:p>
      </dgm:t>
    </dgm:pt>
    <dgm:pt modelId="{263E38C0-B867-9E4B-B19F-B7F667DD74AF}" type="pres">
      <dgm:prSet presAssocID="{A2AF4A68-5820-714D-88D7-49F661B505B9}" presName="Name0" presStyleCnt="0">
        <dgm:presLayoutVars>
          <dgm:dir/>
          <dgm:resizeHandles val="exact"/>
        </dgm:presLayoutVars>
      </dgm:prSet>
      <dgm:spPr/>
    </dgm:pt>
    <dgm:pt modelId="{CEEC867C-41B9-EF4F-8AA0-4D777E8C39EF}" type="pres">
      <dgm:prSet presAssocID="{B08AC848-DD09-034B-AF14-916BC9362CC8}" presName="parTxOnly" presStyleLbl="node1" presStyleIdx="0" presStyleCnt="2">
        <dgm:presLayoutVars>
          <dgm:bulletEnabled val="1"/>
        </dgm:presLayoutVars>
      </dgm:prSet>
      <dgm:spPr/>
    </dgm:pt>
    <dgm:pt modelId="{15F9A326-B63B-C64C-92BF-D931234BCF44}" type="pres">
      <dgm:prSet presAssocID="{5E2FD885-A407-9144-8A73-22603E8D639D}" presName="parSpace" presStyleCnt="0"/>
      <dgm:spPr/>
    </dgm:pt>
    <dgm:pt modelId="{07B9A731-D365-FF4A-A62D-52C50783F721}" type="pres">
      <dgm:prSet presAssocID="{2DBB9DD3-3500-4348-816D-629F6DA306D8}" presName="parTxOnly" presStyleLbl="node1" presStyleIdx="1" presStyleCnt="2">
        <dgm:presLayoutVars>
          <dgm:bulletEnabled val="1"/>
        </dgm:presLayoutVars>
      </dgm:prSet>
      <dgm:spPr/>
    </dgm:pt>
  </dgm:ptLst>
  <dgm:cxnLst>
    <dgm:cxn modelId="{ED9D050B-99AB-644E-80D1-A9CFA1668BE8}" type="presOf" srcId="{2DBB9DD3-3500-4348-816D-629F6DA306D8}" destId="{07B9A731-D365-FF4A-A62D-52C50783F721}" srcOrd="0" destOrd="0" presId="urn:microsoft.com/office/officeart/2005/8/layout/hChevron3"/>
    <dgm:cxn modelId="{4CA3670F-4C70-BE40-9645-C8A6AB40D47F}" srcId="{A2AF4A68-5820-714D-88D7-49F661B505B9}" destId="{2DBB9DD3-3500-4348-816D-629F6DA306D8}" srcOrd="1" destOrd="0" parTransId="{5661B768-4633-9C4C-8073-1DCA5D2C144F}" sibTransId="{33BB26EE-C26E-0141-A047-96DBFF9DA329}"/>
    <dgm:cxn modelId="{B4707D7B-09F2-4641-A9AC-134088B5E0CF}" srcId="{A2AF4A68-5820-714D-88D7-49F661B505B9}" destId="{B08AC848-DD09-034B-AF14-916BC9362CC8}" srcOrd="0" destOrd="0" parTransId="{18767FD0-A00E-9349-926C-F94DF820F511}" sibTransId="{5E2FD885-A407-9144-8A73-22603E8D639D}"/>
    <dgm:cxn modelId="{386029E1-F9E9-134D-9DC0-2C698D5B7DA6}" type="presOf" srcId="{A2AF4A68-5820-714D-88D7-49F661B505B9}" destId="{263E38C0-B867-9E4B-B19F-B7F667DD74AF}" srcOrd="0" destOrd="0" presId="urn:microsoft.com/office/officeart/2005/8/layout/hChevron3"/>
    <dgm:cxn modelId="{B35F05FF-F6A6-674A-A2D0-F9A31C676965}" type="presOf" srcId="{B08AC848-DD09-034B-AF14-916BC9362CC8}" destId="{CEEC867C-41B9-EF4F-8AA0-4D777E8C39EF}" srcOrd="0" destOrd="0" presId="urn:microsoft.com/office/officeart/2005/8/layout/hChevron3"/>
    <dgm:cxn modelId="{A6386141-3347-7A42-94C9-B5C8F2D32A7E}" type="presParOf" srcId="{263E38C0-B867-9E4B-B19F-B7F667DD74AF}" destId="{CEEC867C-41B9-EF4F-8AA0-4D777E8C39EF}" srcOrd="0" destOrd="0" presId="urn:microsoft.com/office/officeart/2005/8/layout/hChevron3"/>
    <dgm:cxn modelId="{347BEB35-7A6F-8741-8F92-A5AFBB2FB446}" type="presParOf" srcId="{263E38C0-B867-9E4B-B19F-B7F667DD74AF}" destId="{15F9A326-B63B-C64C-92BF-D931234BCF44}" srcOrd="1" destOrd="0" presId="urn:microsoft.com/office/officeart/2005/8/layout/hChevron3"/>
    <dgm:cxn modelId="{8338DC28-4042-2047-A85C-4F966A6D99CA}" type="presParOf" srcId="{263E38C0-B867-9E4B-B19F-B7F667DD74AF}" destId="{07B9A731-D365-FF4A-A62D-52C50783F721}" srcOrd="2"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2AF4A68-5820-714D-88D7-49F661B505B9}" type="doc">
      <dgm:prSet loTypeId="urn:microsoft.com/office/officeart/2005/8/layout/hChevron3" loCatId="" qsTypeId="urn:microsoft.com/office/officeart/2005/8/quickstyle/simple1" qsCatId="simple" csTypeId="urn:microsoft.com/office/officeart/2005/8/colors/accent1_2" csCatId="accent1" phldr="1"/>
      <dgm:spPr/>
    </dgm:pt>
    <dgm:pt modelId="{B08AC848-DD09-034B-AF14-916BC9362CC8}">
      <dgm:prSet phldrT="[Text]" custT="1"/>
      <dgm:spPr>
        <a:solidFill>
          <a:schemeClr val="tx2">
            <a:alpha val="75000"/>
          </a:schemeClr>
        </a:solidFill>
      </dgm:spPr>
      <dgm:t>
        <a:bodyPr/>
        <a:lstStyle/>
        <a:p>
          <a:pPr algn="l"/>
          <a:r>
            <a:rPr lang="de-DE" sz="1800"/>
            <a:t>Jedes eingegebene Wort beeinflusst die Ausgabe </a:t>
          </a:r>
        </a:p>
      </dgm:t>
    </dgm:pt>
    <dgm:pt modelId="{18767FD0-A00E-9349-926C-F94DF820F511}" type="parTrans" cxnId="{B4707D7B-09F2-4641-A9AC-134088B5E0CF}">
      <dgm:prSet/>
      <dgm:spPr/>
      <dgm:t>
        <a:bodyPr/>
        <a:lstStyle/>
        <a:p>
          <a:endParaRPr lang="de-DE"/>
        </a:p>
      </dgm:t>
    </dgm:pt>
    <dgm:pt modelId="{5E2FD885-A407-9144-8A73-22603E8D639D}" type="sibTrans" cxnId="{B4707D7B-09F2-4641-A9AC-134088B5E0CF}">
      <dgm:prSet/>
      <dgm:spPr/>
      <dgm:t>
        <a:bodyPr/>
        <a:lstStyle/>
        <a:p>
          <a:endParaRPr lang="de-DE"/>
        </a:p>
      </dgm:t>
    </dgm:pt>
    <dgm:pt modelId="{2DBB9DD3-3500-4348-816D-629F6DA306D8}">
      <dgm:prSet phldrT="[Text]" custT="1"/>
      <dgm:spPr>
        <a:solidFill>
          <a:schemeClr val="tx2">
            <a:alpha val="85000"/>
          </a:schemeClr>
        </a:solidFill>
      </dgm:spPr>
      <dgm:t>
        <a:bodyPr/>
        <a:lstStyle/>
        <a:p>
          <a:pPr algn="l"/>
          <a:r>
            <a:rPr lang="de-DE" sz="1800"/>
            <a:t>	Input auf Relevanz &amp; 	Passgenauigkeit prüfen </a:t>
          </a:r>
        </a:p>
      </dgm:t>
    </dgm:pt>
    <dgm:pt modelId="{5661B768-4633-9C4C-8073-1DCA5D2C144F}" type="parTrans" cxnId="{4CA3670F-4C70-BE40-9645-C8A6AB40D47F}">
      <dgm:prSet/>
      <dgm:spPr/>
      <dgm:t>
        <a:bodyPr/>
        <a:lstStyle/>
        <a:p>
          <a:endParaRPr lang="de-DE"/>
        </a:p>
      </dgm:t>
    </dgm:pt>
    <dgm:pt modelId="{33BB26EE-C26E-0141-A047-96DBFF9DA329}" type="sibTrans" cxnId="{4CA3670F-4C70-BE40-9645-C8A6AB40D47F}">
      <dgm:prSet/>
      <dgm:spPr/>
      <dgm:t>
        <a:bodyPr/>
        <a:lstStyle/>
        <a:p>
          <a:endParaRPr lang="de-DE"/>
        </a:p>
      </dgm:t>
    </dgm:pt>
    <dgm:pt modelId="{263E38C0-B867-9E4B-B19F-B7F667DD74AF}" type="pres">
      <dgm:prSet presAssocID="{A2AF4A68-5820-714D-88D7-49F661B505B9}" presName="Name0" presStyleCnt="0">
        <dgm:presLayoutVars>
          <dgm:dir/>
          <dgm:resizeHandles val="exact"/>
        </dgm:presLayoutVars>
      </dgm:prSet>
      <dgm:spPr/>
    </dgm:pt>
    <dgm:pt modelId="{CEEC867C-41B9-EF4F-8AA0-4D777E8C39EF}" type="pres">
      <dgm:prSet presAssocID="{B08AC848-DD09-034B-AF14-916BC9362CC8}" presName="parTxOnly" presStyleLbl="node1" presStyleIdx="0" presStyleCnt="2" custLinFactNeighborX="-5368" custLinFactNeighborY="69340">
        <dgm:presLayoutVars>
          <dgm:bulletEnabled val="1"/>
        </dgm:presLayoutVars>
      </dgm:prSet>
      <dgm:spPr/>
    </dgm:pt>
    <dgm:pt modelId="{15F9A326-B63B-C64C-92BF-D931234BCF44}" type="pres">
      <dgm:prSet presAssocID="{5E2FD885-A407-9144-8A73-22603E8D639D}" presName="parSpace" presStyleCnt="0"/>
      <dgm:spPr/>
    </dgm:pt>
    <dgm:pt modelId="{07B9A731-D365-FF4A-A62D-52C50783F721}" type="pres">
      <dgm:prSet presAssocID="{2DBB9DD3-3500-4348-816D-629F6DA306D8}" presName="parTxOnly" presStyleLbl="node1" presStyleIdx="1" presStyleCnt="2">
        <dgm:presLayoutVars>
          <dgm:bulletEnabled val="1"/>
        </dgm:presLayoutVars>
      </dgm:prSet>
      <dgm:spPr/>
    </dgm:pt>
  </dgm:ptLst>
  <dgm:cxnLst>
    <dgm:cxn modelId="{ED9D050B-99AB-644E-80D1-A9CFA1668BE8}" type="presOf" srcId="{2DBB9DD3-3500-4348-816D-629F6DA306D8}" destId="{07B9A731-D365-FF4A-A62D-52C50783F721}" srcOrd="0" destOrd="0" presId="urn:microsoft.com/office/officeart/2005/8/layout/hChevron3"/>
    <dgm:cxn modelId="{4CA3670F-4C70-BE40-9645-C8A6AB40D47F}" srcId="{A2AF4A68-5820-714D-88D7-49F661B505B9}" destId="{2DBB9DD3-3500-4348-816D-629F6DA306D8}" srcOrd="1" destOrd="0" parTransId="{5661B768-4633-9C4C-8073-1DCA5D2C144F}" sibTransId="{33BB26EE-C26E-0141-A047-96DBFF9DA329}"/>
    <dgm:cxn modelId="{B4707D7B-09F2-4641-A9AC-134088B5E0CF}" srcId="{A2AF4A68-5820-714D-88D7-49F661B505B9}" destId="{B08AC848-DD09-034B-AF14-916BC9362CC8}" srcOrd="0" destOrd="0" parTransId="{18767FD0-A00E-9349-926C-F94DF820F511}" sibTransId="{5E2FD885-A407-9144-8A73-22603E8D639D}"/>
    <dgm:cxn modelId="{386029E1-F9E9-134D-9DC0-2C698D5B7DA6}" type="presOf" srcId="{A2AF4A68-5820-714D-88D7-49F661B505B9}" destId="{263E38C0-B867-9E4B-B19F-B7F667DD74AF}" srcOrd="0" destOrd="0" presId="urn:microsoft.com/office/officeart/2005/8/layout/hChevron3"/>
    <dgm:cxn modelId="{B35F05FF-F6A6-674A-A2D0-F9A31C676965}" type="presOf" srcId="{B08AC848-DD09-034B-AF14-916BC9362CC8}" destId="{CEEC867C-41B9-EF4F-8AA0-4D777E8C39EF}" srcOrd="0" destOrd="0" presId="urn:microsoft.com/office/officeart/2005/8/layout/hChevron3"/>
    <dgm:cxn modelId="{A6386141-3347-7A42-94C9-B5C8F2D32A7E}" type="presParOf" srcId="{263E38C0-B867-9E4B-B19F-B7F667DD74AF}" destId="{CEEC867C-41B9-EF4F-8AA0-4D777E8C39EF}" srcOrd="0" destOrd="0" presId="urn:microsoft.com/office/officeart/2005/8/layout/hChevron3"/>
    <dgm:cxn modelId="{347BEB35-7A6F-8741-8F92-A5AFBB2FB446}" type="presParOf" srcId="{263E38C0-B867-9E4B-B19F-B7F667DD74AF}" destId="{15F9A326-B63B-C64C-92BF-D931234BCF44}" srcOrd="1" destOrd="0" presId="urn:microsoft.com/office/officeart/2005/8/layout/hChevron3"/>
    <dgm:cxn modelId="{8338DC28-4042-2047-A85C-4F966A6D99CA}" type="presParOf" srcId="{263E38C0-B867-9E4B-B19F-B7F667DD74AF}" destId="{07B9A731-D365-FF4A-A62D-52C50783F721}" srcOrd="2" destOrd="0" presId="urn:microsoft.com/office/officeart/2005/8/layout/hChevron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2AF4A68-5820-714D-88D7-49F661B505B9}" type="doc">
      <dgm:prSet loTypeId="urn:microsoft.com/office/officeart/2005/8/layout/hChevron3" loCatId="" qsTypeId="urn:microsoft.com/office/officeart/2005/8/quickstyle/simple1" qsCatId="simple" csTypeId="urn:microsoft.com/office/officeart/2005/8/colors/accent1_2" csCatId="accent1" phldr="1"/>
      <dgm:spPr/>
    </dgm:pt>
    <dgm:pt modelId="{B08AC848-DD09-034B-AF14-916BC9362CC8}">
      <dgm:prSet phldrT="[Text]" custT="1"/>
      <dgm:spPr>
        <a:solidFill>
          <a:schemeClr val="tx2">
            <a:alpha val="75000"/>
          </a:schemeClr>
        </a:solidFill>
      </dgm:spPr>
      <dgm:t>
        <a:bodyPr/>
        <a:lstStyle/>
        <a:p>
          <a:pPr algn="l"/>
          <a:r>
            <a:rPr lang="de-DE" sz="1800"/>
            <a:t>Negationen können falsch interpretiert werden</a:t>
          </a:r>
        </a:p>
      </dgm:t>
    </dgm:pt>
    <dgm:pt modelId="{18767FD0-A00E-9349-926C-F94DF820F511}" type="parTrans" cxnId="{B4707D7B-09F2-4641-A9AC-134088B5E0CF}">
      <dgm:prSet/>
      <dgm:spPr/>
      <dgm:t>
        <a:bodyPr/>
        <a:lstStyle/>
        <a:p>
          <a:endParaRPr lang="de-DE"/>
        </a:p>
      </dgm:t>
    </dgm:pt>
    <dgm:pt modelId="{5E2FD885-A407-9144-8A73-22603E8D639D}" type="sibTrans" cxnId="{B4707D7B-09F2-4641-A9AC-134088B5E0CF}">
      <dgm:prSet/>
      <dgm:spPr/>
      <dgm:t>
        <a:bodyPr/>
        <a:lstStyle/>
        <a:p>
          <a:endParaRPr lang="de-DE"/>
        </a:p>
      </dgm:t>
    </dgm:pt>
    <dgm:pt modelId="{2DBB9DD3-3500-4348-816D-629F6DA306D8}">
      <dgm:prSet phldrT="[Text]" custT="1"/>
      <dgm:spPr>
        <a:solidFill>
          <a:schemeClr val="tx2">
            <a:alpha val="85000"/>
          </a:schemeClr>
        </a:solidFill>
      </dgm:spPr>
      <dgm:t>
        <a:bodyPr/>
        <a:lstStyle/>
        <a:p>
          <a:pPr algn="l"/>
          <a:r>
            <a:rPr lang="de-DE" sz="1800"/>
            <a:t>	Negation vermeiden</a:t>
          </a:r>
        </a:p>
      </dgm:t>
    </dgm:pt>
    <dgm:pt modelId="{5661B768-4633-9C4C-8073-1DCA5D2C144F}" type="parTrans" cxnId="{4CA3670F-4C70-BE40-9645-C8A6AB40D47F}">
      <dgm:prSet/>
      <dgm:spPr/>
      <dgm:t>
        <a:bodyPr/>
        <a:lstStyle/>
        <a:p>
          <a:endParaRPr lang="de-DE"/>
        </a:p>
      </dgm:t>
    </dgm:pt>
    <dgm:pt modelId="{33BB26EE-C26E-0141-A047-96DBFF9DA329}" type="sibTrans" cxnId="{4CA3670F-4C70-BE40-9645-C8A6AB40D47F}">
      <dgm:prSet/>
      <dgm:spPr/>
      <dgm:t>
        <a:bodyPr/>
        <a:lstStyle/>
        <a:p>
          <a:endParaRPr lang="de-DE"/>
        </a:p>
      </dgm:t>
    </dgm:pt>
    <dgm:pt modelId="{263E38C0-B867-9E4B-B19F-B7F667DD74AF}" type="pres">
      <dgm:prSet presAssocID="{A2AF4A68-5820-714D-88D7-49F661B505B9}" presName="Name0" presStyleCnt="0">
        <dgm:presLayoutVars>
          <dgm:dir/>
          <dgm:resizeHandles val="exact"/>
        </dgm:presLayoutVars>
      </dgm:prSet>
      <dgm:spPr/>
    </dgm:pt>
    <dgm:pt modelId="{CEEC867C-41B9-EF4F-8AA0-4D777E8C39EF}" type="pres">
      <dgm:prSet presAssocID="{B08AC848-DD09-034B-AF14-916BC9362CC8}" presName="parTxOnly" presStyleLbl="node1" presStyleIdx="0" presStyleCnt="2" custLinFactNeighborX="-18466" custLinFactNeighborY="86615">
        <dgm:presLayoutVars>
          <dgm:bulletEnabled val="1"/>
        </dgm:presLayoutVars>
      </dgm:prSet>
      <dgm:spPr/>
    </dgm:pt>
    <dgm:pt modelId="{15F9A326-B63B-C64C-92BF-D931234BCF44}" type="pres">
      <dgm:prSet presAssocID="{5E2FD885-A407-9144-8A73-22603E8D639D}" presName="parSpace" presStyleCnt="0"/>
      <dgm:spPr/>
    </dgm:pt>
    <dgm:pt modelId="{07B9A731-D365-FF4A-A62D-52C50783F721}" type="pres">
      <dgm:prSet presAssocID="{2DBB9DD3-3500-4348-816D-629F6DA306D8}" presName="parTxOnly" presStyleLbl="node1" presStyleIdx="1" presStyleCnt="2">
        <dgm:presLayoutVars>
          <dgm:bulletEnabled val="1"/>
        </dgm:presLayoutVars>
      </dgm:prSet>
      <dgm:spPr/>
    </dgm:pt>
  </dgm:ptLst>
  <dgm:cxnLst>
    <dgm:cxn modelId="{ED9D050B-99AB-644E-80D1-A9CFA1668BE8}" type="presOf" srcId="{2DBB9DD3-3500-4348-816D-629F6DA306D8}" destId="{07B9A731-D365-FF4A-A62D-52C50783F721}" srcOrd="0" destOrd="0" presId="urn:microsoft.com/office/officeart/2005/8/layout/hChevron3"/>
    <dgm:cxn modelId="{4CA3670F-4C70-BE40-9645-C8A6AB40D47F}" srcId="{A2AF4A68-5820-714D-88D7-49F661B505B9}" destId="{2DBB9DD3-3500-4348-816D-629F6DA306D8}" srcOrd="1" destOrd="0" parTransId="{5661B768-4633-9C4C-8073-1DCA5D2C144F}" sibTransId="{33BB26EE-C26E-0141-A047-96DBFF9DA329}"/>
    <dgm:cxn modelId="{B4707D7B-09F2-4641-A9AC-134088B5E0CF}" srcId="{A2AF4A68-5820-714D-88D7-49F661B505B9}" destId="{B08AC848-DD09-034B-AF14-916BC9362CC8}" srcOrd="0" destOrd="0" parTransId="{18767FD0-A00E-9349-926C-F94DF820F511}" sibTransId="{5E2FD885-A407-9144-8A73-22603E8D639D}"/>
    <dgm:cxn modelId="{386029E1-F9E9-134D-9DC0-2C698D5B7DA6}" type="presOf" srcId="{A2AF4A68-5820-714D-88D7-49F661B505B9}" destId="{263E38C0-B867-9E4B-B19F-B7F667DD74AF}" srcOrd="0" destOrd="0" presId="urn:microsoft.com/office/officeart/2005/8/layout/hChevron3"/>
    <dgm:cxn modelId="{B35F05FF-F6A6-674A-A2D0-F9A31C676965}" type="presOf" srcId="{B08AC848-DD09-034B-AF14-916BC9362CC8}" destId="{CEEC867C-41B9-EF4F-8AA0-4D777E8C39EF}" srcOrd="0" destOrd="0" presId="urn:microsoft.com/office/officeart/2005/8/layout/hChevron3"/>
    <dgm:cxn modelId="{A6386141-3347-7A42-94C9-B5C8F2D32A7E}" type="presParOf" srcId="{263E38C0-B867-9E4B-B19F-B7F667DD74AF}" destId="{CEEC867C-41B9-EF4F-8AA0-4D777E8C39EF}" srcOrd="0" destOrd="0" presId="urn:microsoft.com/office/officeart/2005/8/layout/hChevron3"/>
    <dgm:cxn modelId="{347BEB35-7A6F-8741-8F92-A5AFBB2FB446}" type="presParOf" srcId="{263E38C0-B867-9E4B-B19F-B7F667DD74AF}" destId="{15F9A326-B63B-C64C-92BF-D931234BCF44}" srcOrd="1" destOrd="0" presId="urn:microsoft.com/office/officeart/2005/8/layout/hChevron3"/>
    <dgm:cxn modelId="{8338DC28-4042-2047-A85C-4F966A6D99CA}" type="presParOf" srcId="{263E38C0-B867-9E4B-B19F-B7F667DD74AF}" destId="{07B9A731-D365-FF4A-A62D-52C50783F721}" srcOrd="2" destOrd="0" presId="urn:microsoft.com/office/officeart/2005/8/layout/hChevron3"/>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2E79E4A-15D7-479B-BF5E-E5E7A7AD73B9}" type="doc">
      <dgm:prSet loTypeId="urn:microsoft.com/office/officeart/2005/8/layout/hierarchy4" loCatId="list" qsTypeId="urn:microsoft.com/office/officeart/2005/8/quickstyle/simple1" qsCatId="simple" csTypeId="urn:microsoft.com/office/officeart/2005/8/colors/accent0_3" csCatId="mainScheme" phldr="1"/>
      <dgm:spPr/>
      <dgm:t>
        <a:bodyPr/>
        <a:lstStyle/>
        <a:p>
          <a:endParaRPr lang="de-DE"/>
        </a:p>
      </dgm:t>
    </dgm:pt>
    <dgm:pt modelId="{D871585F-14D4-43B2-B06C-E8575E9EE7E9}">
      <dgm:prSet phldrT="[Text]" custT="1"/>
      <dgm:spPr/>
      <dgm:t>
        <a:bodyPr/>
        <a:lstStyle/>
        <a:p>
          <a:r>
            <a:rPr lang="de-DE" sz="3600"/>
            <a:t>Texterzeugung</a:t>
          </a:r>
          <a:endParaRPr lang="de-DE" sz="4800"/>
        </a:p>
      </dgm:t>
    </dgm:pt>
    <dgm:pt modelId="{BCE97672-8307-4867-A65C-757FA3092EC6}" type="parTrans" cxnId="{686B3EA0-DD0C-4B77-9E2A-C3BDD8542177}">
      <dgm:prSet/>
      <dgm:spPr/>
      <dgm:t>
        <a:bodyPr/>
        <a:lstStyle/>
        <a:p>
          <a:endParaRPr lang="de-DE"/>
        </a:p>
      </dgm:t>
    </dgm:pt>
    <dgm:pt modelId="{3524DB0B-1596-4692-8ACA-CA67BD49D080}" type="sibTrans" cxnId="{686B3EA0-DD0C-4B77-9E2A-C3BDD8542177}">
      <dgm:prSet/>
      <dgm:spPr/>
      <dgm:t>
        <a:bodyPr/>
        <a:lstStyle/>
        <a:p>
          <a:endParaRPr lang="de-DE"/>
        </a:p>
      </dgm:t>
    </dgm:pt>
    <dgm:pt modelId="{6838643D-76A3-42FB-BDD9-24EEA0A4AAE3}">
      <dgm:prSet phldrT="[Text]" custT="1"/>
      <dgm:spPr/>
      <dgm:t>
        <a:bodyPr/>
        <a:lstStyle/>
        <a:p>
          <a:r>
            <a:rPr lang="de-DE" sz="1100"/>
            <a:t>Texte zusammenfassen</a:t>
          </a:r>
        </a:p>
      </dgm:t>
    </dgm:pt>
    <dgm:pt modelId="{CFC2F090-EB01-4210-A3C4-1272632B1CC4}" type="parTrans" cxnId="{E10EDE7E-9109-4058-9646-221AC5534AD5}">
      <dgm:prSet/>
      <dgm:spPr/>
      <dgm:t>
        <a:bodyPr/>
        <a:lstStyle/>
        <a:p>
          <a:endParaRPr lang="de-DE"/>
        </a:p>
      </dgm:t>
    </dgm:pt>
    <dgm:pt modelId="{04B904CD-96C9-4CCF-B5E8-46D5781F43F8}" type="sibTrans" cxnId="{E10EDE7E-9109-4058-9646-221AC5534AD5}">
      <dgm:prSet/>
      <dgm:spPr/>
      <dgm:t>
        <a:bodyPr/>
        <a:lstStyle/>
        <a:p>
          <a:endParaRPr lang="de-DE"/>
        </a:p>
      </dgm:t>
    </dgm:pt>
    <dgm:pt modelId="{AB7FE0DB-4B19-40C2-B413-D0CCB548DC43}">
      <dgm:prSet phldrT="[Text]" custT="1"/>
      <dgm:spPr/>
      <dgm:t>
        <a:bodyPr/>
        <a:lstStyle/>
        <a:p>
          <a:r>
            <a:rPr lang="de-DE" sz="1400"/>
            <a:t>„Neue Texte“ erzeugen</a:t>
          </a:r>
        </a:p>
      </dgm:t>
    </dgm:pt>
    <dgm:pt modelId="{B43CEC39-7979-412D-96C6-7704538850A1}" type="parTrans" cxnId="{3174FEA3-F23F-40B8-BC3B-BBAEAF71A1B9}">
      <dgm:prSet/>
      <dgm:spPr/>
      <dgm:t>
        <a:bodyPr/>
        <a:lstStyle/>
        <a:p>
          <a:endParaRPr lang="de-DE"/>
        </a:p>
      </dgm:t>
    </dgm:pt>
    <dgm:pt modelId="{906F3CC7-4E82-4F43-A3EE-F3DA783D8FF2}" type="sibTrans" cxnId="{3174FEA3-F23F-40B8-BC3B-BBAEAF71A1B9}">
      <dgm:prSet/>
      <dgm:spPr/>
      <dgm:t>
        <a:bodyPr/>
        <a:lstStyle/>
        <a:p>
          <a:endParaRPr lang="de-DE"/>
        </a:p>
      </dgm:t>
    </dgm:pt>
    <dgm:pt modelId="{22D45926-993E-471C-9122-DB9BF4AD9E1A}">
      <dgm:prSet phldrT="[Text]" custT="1"/>
      <dgm:spPr/>
      <dgm:t>
        <a:bodyPr/>
        <a:lstStyle/>
        <a:p>
          <a:r>
            <a:rPr lang="de-DE" sz="1400"/>
            <a:t>Wissen vermitteln</a:t>
          </a:r>
        </a:p>
      </dgm:t>
    </dgm:pt>
    <dgm:pt modelId="{CCA8B85A-812E-4582-99C7-45CFEDD7D0AC}" type="parTrans" cxnId="{C5F8CFE9-115D-4B4D-8858-40538A68C518}">
      <dgm:prSet/>
      <dgm:spPr/>
      <dgm:t>
        <a:bodyPr/>
        <a:lstStyle/>
        <a:p>
          <a:endParaRPr lang="de-DE"/>
        </a:p>
      </dgm:t>
    </dgm:pt>
    <dgm:pt modelId="{DC8C14F4-2412-426F-A5CF-88603A8585CB}" type="sibTrans" cxnId="{C5F8CFE9-115D-4B4D-8858-40538A68C518}">
      <dgm:prSet/>
      <dgm:spPr/>
      <dgm:t>
        <a:bodyPr/>
        <a:lstStyle/>
        <a:p>
          <a:endParaRPr lang="de-DE"/>
        </a:p>
      </dgm:t>
    </dgm:pt>
    <dgm:pt modelId="{2C7193AA-9DC0-49AA-9956-3F7A55B9A9D4}">
      <dgm:prSet phldrT="[Text]" custT="1"/>
      <dgm:spPr/>
      <dgm:t>
        <a:bodyPr/>
        <a:lstStyle/>
        <a:p>
          <a:r>
            <a:rPr lang="de-DE" sz="1400"/>
            <a:t>„Klassische“ Texte</a:t>
          </a:r>
        </a:p>
      </dgm:t>
    </dgm:pt>
    <dgm:pt modelId="{E4AB05C5-1746-4B3B-897F-37F1F24364E8}" type="parTrans" cxnId="{3CE094FA-E381-4CF4-8F1C-5856E8A9E900}">
      <dgm:prSet/>
      <dgm:spPr/>
      <dgm:t>
        <a:bodyPr/>
        <a:lstStyle/>
        <a:p>
          <a:endParaRPr lang="de-DE"/>
        </a:p>
      </dgm:t>
    </dgm:pt>
    <dgm:pt modelId="{52FF11D7-AB2A-45F2-B71F-FC291CB4C4FF}" type="sibTrans" cxnId="{3CE094FA-E381-4CF4-8F1C-5856E8A9E900}">
      <dgm:prSet/>
      <dgm:spPr/>
      <dgm:t>
        <a:bodyPr/>
        <a:lstStyle/>
        <a:p>
          <a:endParaRPr lang="de-DE"/>
        </a:p>
      </dgm:t>
    </dgm:pt>
    <dgm:pt modelId="{55162B36-B39D-4CE8-ABAD-5CD4E5C7ED0D}">
      <dgm:prSet phldrT="[Text]" custT="1"/>
      <dgm:spPr/>
      <dgm:t>
        <a:bodyPr/>
        <a:lstStyle/>
        <a:p>
          <a:r>
            <a:rPr lang="de-DE" sz="1400"/>
            <a:t>Code</a:t>
          </a:r>
        </a:p>
      </dgm:t>
    </dgm:pt>
    <dgm:pt modelId="{8CA51C23-07DB-4D95-BE62-A63431ACBDC6}" type="parTrans" cxnId="{EA7FFAF7-80BD-452F-BABC-3159B50BD31B}">
      <dgm:prSet/>
      <dgm:spPr/>
      <dgm:t>
        <a:bodyPr/>
        <a:lstStyle/>
        <a:p>
          <a:endParaRPr lang="de-DE"/>
        </a:p>
      </dgm:t>
    </dgm:pt>
    <dgm:pt modelId="{674E8EE0-2724-48C6-9112-7EEEE76856A9}" type="sibTrans" cxnId="{EA7FFAF7-80BD-452F-BABC-3159B50BD31B}">
      <dgm:prSet/>
      <dgm:spPr/>
      <dgm:t>
        <a:bodyPr/>
        <a:lstStyle/>
        <a:p>
          <a:endParaRPr lang="de-DE"/>
        </a:p>
      </dgm:t>
    </dgm:pt>
    <dgm:pt modelId="{7C17C7F6-0C4B-491B-A029-C8B3E21740A6}">
      <dgm:prSet phldrT="[Text]" custT="1"/>
      <dgm:spPr/>
      <dgm:t>
        <a:bodyPr/>
        <a:lstStyle/>
        <a:p>
          <a:r>
            <a:rPr lang="de-DE" sz="1400"/>
            <a:t>Mindmap / Folien</a:t>
          </a:r>
        </a:p>
      </dgm:t>
    </dgm:pt>
    <dgm:pt modelId="{0BE4191A-CFEB-4B13-AD75-AB8F6269EDAC}" type="parTrans" cxnId="{517F89B0-09E2-4EE9-AC11-6328FA2F22C4}">
      <dgm:prSet/>
      <dgm:spPr/>
      <dgm:t>
        <a:bodyPr/>
        <a:lstStyle/>
        <a:p>
          <a:endParaRPr lang="de-DE"/>
        </a:p>
      </dgm:t>
    </dgm:pt>
    <dgm:pt modelId="{2BBE60C5-D44E-46F8-B380-4F57BA6D70A4}" type="sibTrans" cxnId="{517F89B0-09E2-4EE9-AC11-6328FA2F22C4}">
      <dgm:prSet/>
      <dgm:spPr/>
      <dgm:t>
        <a:bodyPr/>
        <a:lstStyle/>
        <a:p>
          <a:endParaRPr lang="de-DE"/>
        </a:p>
      </dgm:t>
    </dgm:pt>
    <dgm:pt modelId="{C0A24D38-131B-406D-80B8-D92492EEC1BC}">
      <dgm:prSet phldrT="[Text]" custT="1"/>
      <dgm:spPr/>
      <dgm:t>
        <a:bodyPr/>
        <a:lstStyle/>
        <a:p>
          <a:r>
            <a:rPr lang="de-DE" sz="1200" dirty="0"/>
            <a:t>Konversation / Beantwortung von Fragen</a:t>
          </a:r>
        </a:p>
      </dgm:t>
    </dgm:pt>
    <dgm:pt modelId="{BFF46553-5F41-42F3-A382-C62EEA2B43CE}" type="parTrans" cxnId="{18679EE9-439C-4F35-A499-17945A2C2EEF}">
      <dgm:prSet/>
      <dgm:spPr/>
      <dgm:t>
        <a:bodyPr/>
        <a:lstStyle/>
        <a:p>
          <a:endParaRPr lang="de-DE"/>
        </a:p>
      </dgm:t>
    </dgm:pt>
    <dgm:pt modelId="{44DBCDA3-E6E9-4668-9D5D-2B028F3D1961}" type="sibTrans" cxnId="{18679EE9-439C-4F35-A499-17945A2C2EEF}">
      <dgm:prSet/>
      <dgm:spPr/>
      <dgm:t>
        <a:bodyPr/>
        <a:lstStyle/>
        <a:p>
          <a:endParaRPr lang="de-DE"/>
        </a:p>
      </dgm:t>
    </dgm:pt>
    <dgm:pt modelId="{59B11BCD-39DF-48F0-BD31-97DBE4873FF1}">
      <dgm:prSet phldrT="[Text]" custT="1"/>
      <dgm:spPr/>
      <dgm:t>
        <a:bodyPr/>
        <a:lstStyle/>
        <a:p>
          <a:r>
            <a:rPr lang="de-DE" sz="1400" dirty="0"/>
            <a:t>Erklären von Texten (auch Code)</a:t>
          </a:r>
        </a:p>
      </dgm:t>
    </dgm:pt>
    <dgm:pt modelId="{45CB3A90-408E-45F2-9159-2BE914EF98AB}" type="parTrans" cxnId="{628793DA-FD30-49F7-8D2D-2AB0F31938CA}">
      <dgm:prSet/>
      <dgm:spPr/>
      <dgm:t>
        <a:bodyPr/>
        <a:lstStyle/>
        <a:p>
          <a:endParaRPr lang="de-DE"/>
        </a:p>
      </dgm:t>
    </dgm:pt>
    <dgm:pt modelId="{25D302F7-40CC-4B22-A866-E12E99CD7FB0}" type="sibTrans" cxnId="{628793DA-FD30-49F7-8D2D-2AB0F31938CA}">
      <dgm:prSet/>
      <dgm:spPr/>
      <dgm:t>
        <a:bodyPr/>
        <a:lstStyle/>
        <a:p>
          <a:endParaRPr lang="de-DE"/>
        </a:p>
      </dgm:t>
    </dgm:pt>
    <dgm:pt modelId="{F3042371-C62C-4B3B-8E58-16E4A68C768D}" type="pres">
      <dgm:prSet presAssocID="{92E79E4A-15D7-479B-BF5E-E5E7A7AD73B9}" presName="Name0" presStyleCnt="0">
        <dgm:presLayoutVars>
          <dgm:chPref val="1"/>
          <dgm:dir/>
          <dgm:animOne val="branch"/>
          <dgm:animLvl val="lvl"/>
          <dgm:resizeHandles/>
        </dgm:presLayoutVars>
      </dgm:prSet>
      <dgm:spPr/>
    </dgm:pt>
    <dgm:pt modelId="{389D545E-EDAC-44B0-A018-A6206F729EA5}" type="pres">
      <dgm:prSet presAssocID="{D871585F-14D4-43B2-B06C-E8575E9EE7E9}" presName="vertOne" presStyleCnt="0"/>
      <dgm:spPr/>
    </dgm:pt>
    <dgm:pt modelId="{ABDAD087-AC60-40CF-90DD-B38FC9D3E1DC}" type="pres">
      <dgm:prSet presAssocID="{D871585F-14D4-43B2-B06C-E8575E9EE7E9}" presName="txOne" presStyleLbl="node0" presStyleIdx="0" presStyleCnt="1" custLinFactY="-33338" custLinFactNeighborX="-46502" custLinFactNeighborY="-100000">
        <dgm:presLayoutVars>
          <dgm:chPref val="3"/>
        </dgm:presLayoutVars>
      </dgm:prSet>
      <dgm:spPr/>
    </dgm:pt>
    <dgm:pt modelId="{9C38AD71-D86C-4976-9B19-ACA88A72745A}" type="pres">
      <dgm:prSet presAssocID="{D871585F-14D4-43B2-B06C-E8575E9EE7E9}" presName="parTransOne" presStyleCnt="0"/>
      <dgm:spPr/>
    </dgm:pt>
    <dgm:pt modelId="{4C4E8DC2-DA43-41B7-BD05-B5EC0C6A3590}" type="pres">
      <dgm:prSet presAssocID="{D871585F-14D4-43B2-B06C-E8575E9EE7E9}" presName="horzOne" presStyleCnt="0"/>
      <dgm:spPr/>
    </dgm:pt>
    <dgm:pt modelId="{3358AEB0-1ED5-43A5-B413-180790722E89}" type="pres">
      <dgm:prSet presAssocID="{6838643D-76A3-42FB-BDD9-24EEA0A4AAE3}" presName="vertTwo" presStyleCnt="0"/>
      <dgm:spPr/>
    </dgm:pt>
    <dgm:pt modelId="{8D5AA6DA-2C32-4F42-AED2-2394D4B13453}" type="pres">
      <dgm:prSet presAssocID="{6838643D-76A3-42FB-BDD9-24EEA0A4AAE3}" presName="txTwo" presStyleLbl="node2" presStyleIdx="0" presStyleCnt="3" custScaleX="106488">
        <dgm:presLayoutVars>
          <dgm:chPref val="3"/>
        </dgm:presLayoutVars>
      </dgm:prSet>
      <dgm:spPr/>
    </dgm:pt>
    <dgm:pt modelId="{6BAC2119-E101-4F21-A850-7E3DBFD4A2C3}" type="pres">
      <dgm:prSet presAssocID="{6838643D-76A3-42FB-BDD9-24EEA0A4AAE3}" presName="horzTwo" presStyleCnt="0"/>
      <dgm:spPr/>
    </dgm:pt>
    <dgm:pt modelId="{9EDDAC89-B0E0-4760-9A00-7FC138D15D46}" type="pres">
      <dgm:prSet presAssocID="{04B904CD-96C9-4CCF-B5E8-46D5781F43F8}" presName="sibSpaceTwo" presStyleCnt="0"/>
      <dgm:spPr/>
    </dgm:pt>
    <dgm:pt modelId="{083993B0-934E-480C-A4B9-853B49B0A083}" type="pres">
      <dgm:prSet presAssocID="{AB7FE0DB-4B19-40C2-B413-D0CCB548DC43}" presName="vertTwo" presStyleCnt="0"/>
      <dgm:spPr/>
    </dgm:pt>
    <dgm:pt modelId="{C14B4932-AE29-4172-A972-BEFC2F964206}" type="pres">
      <dgm:prSet presAssocID="{AB7FE0DB-4B19-40C2-B413-D0CCB548DC43}" presName="txTwo" presStyleLbl="node2" presStyleIdx="1" presStyleCnt="3">
        <dgm:presLayoutVars>
          <dgm:chPref val="3"/>
        </dgm:presLayoutVars>
      </dgm:prSet>
      <dgm:spPr/>
    </dgm:pt>
    <dgm:pt modelId="{C2023E43-BFCA-4C6D-B8C1-475A3891E8F8}" type="pres">
      <dgm:prSet presAssocID="{AB7FE0DB-4B19-40C2-B413-D0CCB548DC43}" presName="parTransTwo" presStyleCnt="0"/>
      <dgm:spPr/>
    </dgm:pt>
    <dgm:pt modelId="{366CB87B-E89B-4397-A92D-A1B0285A4EA1}" type="pres">
      <dgm:prSet presAssocID="{AB7FE0DB-4B19-40C2-B413-D0CCB548DC43}" presName="horzTwo" presStyleCnt="0"/>
      <dgm:spPr/>
    </dgm:pt>
    <dgm:pt modelId="{9B18960F-A97E-46E6-A652-50AB926B1523}" type="pres">
      <dgm:prSet presAssocID="{2C7193AA-9DC0-49AA-9956-3F7A55B9A9D4}" presName="vertThree" presStyleCnt="0"/>
      <dgm:spPr/>
    </dgm:pt>
    <dgm:pt modelId="{D00A764E-3F3E-496F-9381-91C964E71DDC}" type="pres">
      <dgm:prSet presAssocID="{2C7193AA-9DC0-49AA-9956-3F7A55B9A9D4}" presName="txThree" presStyleLbl="node3" presStyleIdx="0" presStyleCnt="5">
        <dgm:presLayoutVars>
          <dgm:chPref val="3"/>
        </dgm:presLayoutVars>
      </dgm:prSet>
      <dgm:spPr/>
    </dgm:pt>
    <dgm:pt modelId="{CCF62190-032E-4468-9800-7596EB436307}" type="pres">
      <dgm:prSet presAssocID="{2C7193AA-9DC0-49AA-9956-3F7A55B9A9D4}" presName="horzThree" presStyleCnt="0"/>
      <dgm:spPr/>
    </dgm:pt>
    <dgm:pt modelId="{753ED1AE-A954-4922-8FC5-959C0466786E}" type="pres">
      <dgm:prSet presAssocID="{52FF11D7-AB2A-45F2-B71F-FC291CB4C4FF}" presName="sibSpaceThree" presStyleCnt="0"/>
      <dgm:spPr/>
    </dgm:pt>
    <dgm:pt modelId="{317D843C-940F-4D44-A415-117A2CAC124B}" type="pres">
      <dgm:prSet presAssocID="{55162B36-B39D-4CE8-ABAD-5CD4E5C7ED0D}" presName="vertThree" presStyleCnt="0"/>
      <dgm:spPr/>
    </dgm:pt>
    <dgm:pt modelId="{76B718F5-BCE2-4C55-A04A-0664C8545036}" type="pres">
      <dgm:prSet presAssocID="{55162B36-B39D-4CE8-ABAD-5CD4E5C7ED0D}" presName="txThree" presStyleLbl="node3" presStyleIdx="1" presStyleCnt="5">
        <dgm:presLayoutVars>
          <dgm:chPref val="3"/>
        </dgm:presLayoutVars>
      </dgm:prSet>
      <dgm:spPr/>
    </dgm:pt>
    <dgm:pt modelId="{F10D3E42-100C-40E0-BA55-21461250EBBD}" type="pres">
      <dgm:prSet presAssocID="{55162B36-B39D-4CE8-ABAD-5CD4E5C7ED0D}" presName="horzThree" presStyleCnt="0"/>
      <dgm:spPr/>
    </dgm:pt>
    <dgm:pt modelId="{811EDBF8-EE4A-478A-9989-62B498E80E60}" type="pres">
      <dgm:prSet presAssocID="{674E8EE0-2724-48C6-9112-7EEEE76856A9}" presName="sibSpaceThree" presStyleCnt="0"/>
      <dgm:spPr/>
    </dgm:pt>
    <dgm:pt modelId="{4904BE83-64F3-4593-961E-ADDA49459DE4}" type="pres">
      <dgm:prSet presAssocID="{7C17C7F6-0C4B-491B-A029-C8B3E21740A6}" presName="vertThree" presStyleCnt="0"/>
      <dgm:spPr/>
    </dgm:pt>
    <dgm:pt modelId="{36CAD9A9-FB29-43EB-930F-7E24EFB75A63}" type="pres">
      <dgm:prSet presAssocID="{7C17C7F6-0C4B-491B-A029-C8B3E21740A6}" presName="txThree" presStyleLbl="node3" presStyleIdx="2" presStyleCnt="5">
        <dgm:presLayoutVars>
          <dgm:chPref val="3"/>
        </dgm:presLayoutVars>
      </dgm:prSet>
      <dgm:spPr/>
    </dgm:pt>
    <dgm:pt modelId="{C2078A34-4776-4A33-A256-62BC48ADEBFB}" type="pres">
      <dgm:prSet presAssocID="{7C17C7F6-0C4B-491B-A029-C8B3E21740A6}" presName="horzThree" presStyleCnt="0"/>
      <dgm:spPr/>
    </dgm:pt>
    <dgm:pt modelId="{F70A48A8-2343-4B01-B54D-6A1D0AB9A2CD}" type="pres">
      <dgm:prSet presAssocID="{906F3CC7-4E82-4F43-A3EE-F3DA783D8FF2}" presName="sibSpaceTwo" presStyleCnt="0"/>
      <dgm:spPr/>
    </dgm:pt>
    <dgm:pt modelId="{EAB7C434-9348-4D3D-A7A6-5AC165BDB82F}" type="pres">
      <dgm:prSet presAssocID="{22D45926-993E-471C-9122-DB9BF4AD9E1A}" presName="vertTwo" presStyleCnt="0"/>
      <dgm:spPr/>
    </dgm:pt>
    <dgm:pt modelId="{E2DE9ADE-E38C-4794-A984-C142989EE555}" type="pres">
      <dgm:prSet presAssocID="{22D45926-993E-471C-9122-DB9BF4AD9E1A}" presName="txTwo" presStyleLbl="node2" presStyleIdx="2" presStyleCnt="3">
        <dgm:presLayoutVars>
          <dgm:chPref val="3"/>
        </dgm:presLayoutVars>
      </dgm:prSet>
      <dgm:spPr/>
    </dgm:pt>
    <dgm:pt modelId="{E5F9CE61-654A-476E-AE16-AE589FD78607}" type="pres">
      <dgm:prSet presAssocID="{22D45926-993E-471C-9122-DB9BF4AD9E1A}" presName="parTransTwo" presStyleCnt="0"/>
      <dgm:spPr/>
    </dgm:pt>
    <dgm:pt modelId="{9ED0236E-E2CC-4132-A7F2-90BEE8EE0054}" type="pres">
      <dgm:prSet presAssocID="{22D45926-993E-471C-9122-DB9BF4AD9E1A}" presName="horzTwo" presStyleCnt="0"/>
      <dgm:spPr/>
    </dgm:pt>
    <dgm:pt modelId="{7D3D9C04-D70D-4B52-9D6C-C1F074CA2798}" type="pres">
      <dgm:prSet presAssocID="{C0A24D38-131B-406D-80B8-D92492EEC1BC}" presName="vertThree" presStyleCnt="0"/>
      <dgm:spPr/>
    </dgm:pt>
    <dgm:pt modelId="{EA73F862-C72A-4149-AFBF-4B5793DFED91}" type="pres">
      <dgm:prSet presAssocID="{C0A24D38-131B-406D-80B8-D92492EEC1BC}" presName="txThree" presStyleLbl="node3" presStyleIdx="3" presStyleCnt="5">
        <dgm:presLayoutVars>
          <dgm:chPref val="3"/>
        </dgm:presLayoutVars>
      </dgm:prSet>
      <dgm:spPr/>
    </dgm:pt>
    <dgm:pt modelId="{75A0B576-D7DD-4E54-B19C-9F5370FA15C4}" type="pres">
      <dgm:prSet presAssocID="{C0A24D38-131B-406D-80B8-D92492EEC1BC}" presName="horzThree" presStyleCnt="0"/>
      <dgm:spPr/>
    </dgm:pt>
    <dgm:pt modelId="{6E52170B-BE7E-418A-9C54-26AAC3236CC7}" type="pres">
      <dgm:prSet presAssocID="{44DBCDA3-E6E9-4668-9D5D-2B028F3D1961}" presName="sibSpaceThree" presStyleCnt="0"/>
      <dgm:spPr/>
    </dgm:pt>
    <dgm:pt modelId="{6233EABC-5254-4E32-B316-4B8D6E4E20B3}" type="pres">
      <dgm:prSet presAssocID="{59B11BCD-39DF-48F0-BD31-97DBE4873FF1}" presName="vertThree" presStyleCnt="0"/>
      <dgm:spPr/>
    </dgm:pt>
    <dgm:pt modelId="{F70AA033-B05D-4D4B-AC08-6218D6CED6A0}" type="pres">
      <dgm:prSet presAssocID="{59B11BCD-39DF-48F0-BD31-97DBE4873FF1}" presName="txThree" presStyleLbl="node3" presStyleIdx="4" presStyleCnt="5">
        <dgm:presLayoutVars>
          <dgm:chPref val="3"/>
        </dgm:presLayoutVars>
      </dgm:prSet>
      <dgm:spPr/>
    </dgm:pt>
    <dgm:pt modelId="{89135941-576A-477B-A8C8-B8F1DAF728C1}" type="pres">
      <dgm:prSet presAssocID="{59B11BCD-39DF-48F0-BD31-97DBE4873FF1}" presName="horzThree" presStyleCnt="0"/>
      <dgm:spPr/>
    </dgm:pt>
  </dgm:ptLst>
  <dgm:cxnLst>
    <dgm:cxn modelId="{FE9D4227-945E-43F7-971E-523BDC808F57}" type="presOf" srcId="{6838643D-76A3-42FB-BDD9-24EEA0A4AAE3}" destId="{8D5AA6DA-2C32-4F42-AED2-2394D4B13453}" srcOrd="0" destOrd="0" presId="urn:microsoft.com/office/officeart/2005/8/layout/hierarchy4"/>
    <dgm:cxn modelId="{9033C128-2A45-45D7-A7B2-0206135A5AF8}" type="presOf" srcId="{7C17C7F6-0C4B-491B-A029-C8B3E21740A6}" destId="{36CAD9A9-FB29-43EB-930F-7E24EFB75A63}" srcOrd="0" destOrd="0" presId="urn:microsoft.com/office/officeart/2005/8/layout/hierarchy4"/>
    <dgm:cxn modelId="{1898DD2A-6945-4F71-BEDE-F44AF19F6B36}" type="presOf" srcId="{22D45926-993E-471C-9122-DB9BF4AD9E1A}" destId="{E2DE9ADE-E38C-4794-A984-C142989EE555}" srcOrd="0" destOrd="0" presId="urn:microsoft.com/office/officeart/2005/8/layout/hierarchy4"/>
    <dgm:cxn modelId="{54474833-C6D4-48EB-B794-F0B81CF1EBD6}" type="presOf" srcId="{55162B36-B39D-4CE8-ABAD-5CD4E5C7ED0D}" destId="{76B718F5-BCE2-4C55-A04A-0664C8545036}" srcOrd="0" destOrd="0" presId="urn:microsoft.com/office/officeart/2005/8/layout/hierarchy4"/>
    <dgm:cxn modelId="{16A5E15C-71F9-4F98-8BBF-1E0193CF0607}" type="presOf" srcId="{2C7193AA-9DC0-49AA-9956-3F7A55B9A9D4}" destId="{D00A764E-3F3E-496F-9381-91C964E71DDC}" srcOrd="0" destOrd="0" presId="urn:microsoft.com/office/officeart/2005/8/layout/hierarchy4"/>
    <dgm:cxn modelId="{DE0BA06B-7BFF-49B5-A898-49890655827D}" type="presOf" srcId="{D871585F-14D4-43B2-B06C-E8575E9EE7E9}" destId="{ABDAD087-AC60-40CF-90DD-B38FC9D3E1DC}" srcOrd="0" destOrd="0" presId="urn:microsoft.com/office/officeart/2005/8/layout/hierarchy4"/>
    <dgm:cxn modelId="{E10EDE7E-9109-4058-9646-221AC5534AD5}" srcId="{D871585F-14D4-43B2-B06C-E8575E9EE7E9}" destId="{6838643D-76A3-42FB-BDD9-24EEA0A4AAE3}" srcOrd="0" destOrd="0" parTransId="{CFC2F090-EB01-4210-A3C4-1272632B1CC4}" sibTransId="{04B904CD-96C9-4CCF-B5E8-46D5781F43F8}"/>
    <dgm:cxn modelId="{3C7F7090-30CA-4727-839A-F4C03C738355}" type="presOf" srcId="{C0A24D38-131B-406D-80B8-D92492EEC1BC}" destId="{EA73F862-C72A-4149-AFBF-4B5793DFED91}" srcOrd="0" destOrd="0" presId="urn:microsoft.com/office/officeart/2005/8/layout/hierarchy4"/>
    <dgm:cxn modelId="{C737CF97-A2B3-48AE-8BCB-8F869F54B934}" type="presOf" srcId="{59B11BCD-39DF-48F0-BD31-97DBE4873FF1}" destId="{F70AA033-B05D-4D4B-AC08-6218D6CED6A0}" srcOrd="0" destOrd="0" presId="urn:microsoft.com/office/officeart/2005/8/layout/hierarchy4"/>
    <dgm:cxn modelId="{686B3EA0-DD0C-4B77-9E2A-C3BDD8542177}" srcId="{92E79E4A-15D7-479B-BF5E-E5E7A7AD73B9}" destId="{D871585F-14D4-43B2-B06C-E8575E9EE7E9}" srcOrd="0" destOrd="0" parTransId="{BCE97672-8307-4867-A65C-757FA3092EC6}" sibTransId="{3524DB0B-1596-4692-8ACA-CA67BD49D080}"/>
    <dgm:cxn modelId="{3174FEA3-F23F-40B8-BC3B-BBAEAF71A1B9}" srcId="{D871585F-14D4-43B2-B06C-E8575E9EE7E9}" destId="{AB7FE0DB-4B19-40C2-B413-D0CCB548DC43}" srcOrd="1" destOrd="0" parTransId="{B43CEC39-7979-412D-96C6-7704538850A1}" sibTransId="{906F3CC7-4E82-4F43-A3EE-F3DA783D8FF2}"/>
    <dgm:cxn modelId="{517F89B0-09E2-4EE9-AC11-6328FA2F22C4}" srcId="{AB7FE0DB-4B19-40C2-B413-D0CCB548DC43}" destId="{7C17C7F6-0C4B-491B-A029-C8B3E21740A6}" srcOrd="2" destOrd="0" parTransId="{0BE4191A-CFEB-4B13-AD75-AB8F6269EDAC}" sibTransId="{2BBE60C5-D44E-46F8-B380-4F57BA6D70A4}"/>
    <dgm:cxn modelId="{628793DA-FD30-49F7-8D2D-2AB0F31938CA}" srcId="{22D45926-993E-471C-9122-DB9BF4AD9E1A}" destId="{59B11BCD-39DF-48F0-BD31-97DBE4873FF1}" srcOrd="1" destOrd="0" parTransId="{45CB3A90-408E-45F2-9159-2BE914EF98AB}" sibTransId="{25D302F7-40CC-4B22-A866-E12E99CD7FB0}"/>
    <dgm:cxn modelId="{A9A510DF-25CA-445E-8E38-06C848D28C53}" type="presOf" srcId="{92E79E4A-15D7-479B-BF5E-E5E7A7AD73B9}" destId="{F3042371-C62C-4B3B-8E58-16E4A68C768D}" srcOrd="0" destOrd="0" presId="urn:microsoft.com/office/officeart/2005/8/layout/hierarchy4"/>
    <dgm:cxn modelId="{18679EE9-439C-4F35-A499-17945A2C2EEF}" srcId="{22D45926-993E-471C-9122-DB9BF4AD9E1A}" destId="{C0A24D38-131B-406D-80B8-D92492EEC1BC}" srcOrd="0" destOrd="0" parTransId="{BFF46553-5F41-42F3-A382-C62EEA2B43CE}" sibTransId="{44DBCDA3-E6E9-4668-9D5D-2B028F3D1961}"/>
    <dgm:cxn modelId="{C5F8CFE9-115D-4B4D-8858-40538A68C518}" srcId="{D871585F-14D4-43B2-B06C-E8575E9EE7E9}" destId="{22D45926-993E-471C-9122-DB9BF4AD9E1A}" srcOrd="2" destOrd="0" parTransId="{CCA8B85A-812E-4582-99C7-45CFEDD7D0AC}" sibTransId="{DC8C14F4-2412-426F-A5CF-88603A8585CB}"/>
    <dgm:cxn modelId="{EA7FFAF7-80BD-452F-BABC-3159B50BD31B}" srcId="{AB7FE0DB-4B19-40C2-B413-D0CCB548DC43}" destId="{55162B36-B39D-4CE8-ABAD-5CD4E5C7ED0D}" srcOrd="1" destOrd="0" parTransId="{8CA51C23-07DB-4D95-BE62-A63431ACBDC6}" sibTransId="{674E8EE0-2724-48C6-9112-7EEEE76856A9}"/>
    <dgm:cxn modelId="{3CE094FA-E381-4CF4-8F1C-5856E8A9E900}" srcId="{AB7FE0DB-4B19-40C2-B413-D0CCB548DC43}" destId="{2C7193AA-9DC0-49AA-9956-3F7A55B9A9D4}" srcOrd="0" destOrd="0" parTransId="{E4AB05C5-1746-4B3B-897F-37F1F24364E8}" sibTransId="{52FF11D7-AB2A-45F2-B71F-FC291CB4C4FF}"/>
    <dgm:cxn modelId="{F79314FF-7D6C-4225-BC05-1810F597B519}" type="presOf" srcId="{AB7FE0DB-4B19-40C2-B413-D0CCB548DC43}" destId="{C14B4932-AE29-4172-A972-BEFC2F964206}" srcOrd="0" destOrd="0" presId="urn:microsoft.com/office/officeart/2005/8/layout/hierarchy4"/>
    <dgm:cxn modelId="{74944E63-4A30-4D8B-B45B-D7DB41A894D2}" type="presParOf" srcId="{F3042371-C62C-4B3B-8E58-16E4A68C768D}" destId="{389D545E-EDAC-44B0-A018-A6206F729EA5}" srcOrd="0" destOrd="0" presId="urn:microsoft.com/office/officeart/2005/8/layout/hierarchy4"/>
    <dgm:cxn modelId="{F34252B7-339D-4AA3-9FAD-D9F18744D4E6}" type="presParOf" srcId="{389D545E-EDAC-44B0-A018-A6206F729EA5}" destId="{ABDAD087-AC60-40CF-90DD-B38FC9D3E1DC}" srcOrd="0" destOrd="0" presId="urn:microsoft.com/office/officeart/2005/8/layout/hierarchy4"/>
    <dgm:cxn modelId="{B4E7FBC4-BBB1-49FB-A4A5-62C21F7A2F78}" type="presParOf" srcId="{389D545E-EDAC-44B0-A018-A6206F729EA5}" destId="{9C38AD71-D86C-4976-9B19-ACA88A72745A}" srcOrd="1" destOrd="0" presId="urn:microsoft.com/office/officeart/2005/8/layout/hierarchy4"/>
    <dgm:cxn modelId="{D4F58085-920C-424F-A33B-A302EF49B28F}" type="presParOf" srcId="{389D545E-EDAC-44B0-A018-A6206F729EA5}" destId="{4C4E8DC2-DA43-41B7-BD05-B5EC0C6A3590}" srcOrd="2" destOrd="0" presId="urn:microsoft.com/office/officeart/2005/8/layout/hierarchy4"/>
    <dgm:cxn modelId="{2116E0EC-98F4-4D29-BE3D-B13140614AB3}" type="presParOf" srcId="{4C4E8DC2-DA43-41B7-BD05-B5EC0C6A3590}" destId="{3358AEB0-1ED5-43A5-B413-180790722E89}" srcOrd="0" destOrd="0" presId="urn:microsoft.com/office/officeart/2005/8/layout/hierarchy4"/>
    <dgm:cxn modelId="{5F09D241-C720-41F8-993B-5F6CE3C3B17F}" type="presParOf" srcId="{3358AEB0-1ED5-43A5-B413-180790722E89}" destId="{8D5AA6DA-2C32-4F42-AED2-2394D4B13453}" srcOrd="0" destOrd="0" presId="urn:microsoft.com/office/officeart/2005/8/layout/hierarchy4"/>
    <dgm:cxn modelId="{A40C81D1-A42F-4847-91BB-18EBD03746C8}" type="presParOf" srcId="{3358AEB0-1ED5-43A5-B413-180790722E89}" destId="{6BAC2119-E101-4F21-A850-7E3DBFD4A2C3}" srcOrd="1" destOrd="0" presId="urn:microsoft.com/office/officeart/2005/8/layout/hierarchy4"/>
    <dgm:cxn modelId="{DE99E32D-2A8E-4BA9-83C8-62A620EC07F4}" type="presParOf" srcId="{4C4E8DC2-DA43-41B7-BD05-B5EC0C6A3590}" destId="{9EDDAC89-B0E0-4760-9A00-7FC138D15D46}" srcOrd="1" destOrd="0" presId="urn:microsoft.com/office/officeart/2005/8/layout/hierarchy4"/>
    <dgm:cxn modelId="{69D341B5-8A88-431E-85AC-E882B9E2DA23}" type="presParOf" srcId="{4C4E8DC2-DA43-41B7-BD05-B5EC0C6A3590}" destId="{083993B0-934E-480C-A4B9-853B49B0A083}" srcOrd="2" destOrd="0" presId="urn:microsoft.com/office/officeart/2005/8/layout/hierarchy4"/>
    <dgm:cxn modelId="{CFF77B26-91CA-4747-B61C-49944590E4FC}" type="presParOf" srcId="{083993B0-934E-480C-A4B9-853B49B0A083}" destId="{C14B4932-AE29-4172-A972-BEFC2F964206}" srcOrd="0" destOrd="0" presId="urn:microsoft.com/office/officeart/2005/8/layout/hierarchy4"/>
    <dgm:cxn modelId="{608FB06D-7186-4483-AA81-AD9CAAF1D9D6}" type="presParOf" srcId="{083993B0-934E-480C-A4B9-853B49B0A083}" destId="{C2023E43-BFCA-4C6D-B8C1-475A3891E8F8}" srcOrd="1" destOrd="0" presId="urn:microsoft.com/office/officeart/2005/8/layout/hierarchy4"/>
    <dgm:cxn modelId="{BADCBB2D-2CA4-4310-8F94-129870A91813}" type="presParOf" srcId="{083993B0-934E-480C-A4B9-853B49B0A083}" destId="{366CB87B-E89B-4397-A92D-A1B0285A4EA1}" srcOrd="2" destOrd="0" presId="urn:microsoft.com/office/officeart/2005/8/layout/hierarchy4"/>
    <dgm:cxn modelId="{4EDEE6EF-3FCC-4B9E-B2B5-2A030E8F1D74}" type="presParOf" srcId="{366CB87B-E89B-4397-A92D-A1B0285A4EA1}" destId="{9B18960F-A97E-46E6-A652-50AB926B1523}" srcOrd="0" destOrd="0" presId="urn:microsoft.com/office/officeart/2005/8/layout/hierarchy4"/>
    <dgm:cxn modelId="{5DFB22EF-11B3-4470-A5EA-CED7274153BD}" type="presParOf" srcId="{9B18960F-A97E-46E6-A652-50AB926B1523}" destId="{D00A764E-3F3E-496F-9381-91C964E71DDC}" srcOrd="0" destOrd="0" presId="urn:microsoft.com/office/officeart/2005/8/layout/hierarchy4"/>
    <dgm:cxn modelId="{12B3081D-5EFB-4B44-B2EC-A01508D5529A}" type="presParOf" srcId="{9B18960F-A97E-46E6-A652-50AB926B1523}" destId="{CCF62190-032E-4468-9800-7596EB436307}" srcOrd="1" destOrd="0" presId="urn:microsoft.com/office/officeart/2005/8/layout/hierarchy4"/>
    <dgm:cxn modelId="{58D2D1EC-C8B9-4F55-ADCB-C6003E7DE2F6}" type="presParOf" srcId="{366CB87B-E89B-4397-A92D-A1B0285A4EA1}" destId="{753ED1AE-A954-4922-8FC5-959C0466786E}" srcOrd="1" destOrd="0" presId="urn:microsoft.com/office/officeart/2005/8/layout/hierarchy4"/>
    <dgm:cxn modelId="{6CEA1CFC-0A60-4D48-A077-9E4CAA232580}" type="presParOf" srcId="{366CB87B-E89B-4397-A92D-A1B0285A4EA1}" destId="{317D843C-940F-4D44-A415-117A2CAC124B}" srcOrd="2" destOrd="0" presId="urn:microsoft.com/office/officeart/2005/8/layout/hierarchy4"/>
    <dgm:cxn modelId="{23119A4B-9735-4108-9C0E-57B487FF2A7F}" type="presParOf" srcId="{317D843C-940F-4D44-A415-117A2CAC124B}" destId="{76B718F5-BCE2-4C55-A04A-0664C8545036}" srcOrd="0" destOrd="0" presId="urn:microsoft.com/office/officeart/2005/8/layout/hierarchy4"/>
    <dgm:cxn modelId="{1C0CC4D4-9FD0-43F1-8412-048182304077}" type="presParOf" srcId="{317D843C-940F-4D44-A415-117A2CAC124B}" destId="{F10D3E42-100C-40E0-BA55-21461250EBBD}" srcOrd="1" destOrd="0" presId="urn:microsoft.com/office/officeart/2005/8/layout/hierarchy4"/>
    <dgm:cxn modelId="{7B0EAB7E-9778-42D2-875F-B0AAE6A6C814}" type="presParOf" srcId="{366CB87B-E89B-4397-A92D-A1B0285A4EA1}" destId="{811EDBF8-EE4A-478A-9989-62B498E80E60}" srcOrd="3" destOrd="0" presId="urn:microsoft.com/office/officeart/2005/8/layout/hierarchy4"/>
    <dgm:cxn modelId="{690FC65B-0D5A-4D9D-87B3-78FD5E5B9FBB}" type="presParOf" srcId="{366CB87B-E89B-4397-A92D-A1B0285A4EA1}" destId="{4904BE83-64F3-4593-961E-ADDA49459DE4}" srcOrd="4" destOrd="0" presId="urn:microsoft.com/office/officeart/2005/8/layout/hierarchy4"/>
    <dgm:cxn modelId="{D577B573-CA32-4CCC-ABA0-616CF98E8E1F}" type="presParOf" srcId="{4904BE83-64F3-4593-961E-ADDA49459DE4}" destId="{36CAD9A9-FB29-43EB-930F-7E24EFB75A63}" srcOrd="0" destOrd="0" presId="urn:microsoft.com/office/officeart/2005/8/layout/hierarchy4"/>
    <dgm:cxn modelId="{64555759-0C35-46C4-954C-B6C11787DF1F}" type="presParOf" srcId="{4904BE83-64F3-4593-961E-ADDA49459DE4}" destId="{C2078A34-4776-4A33-A256-62BC48ADEBFB}" srcOrd="1" destOrd="0" presId="urn:microsoft.com/office/officeart/2005/8/layout/hierarchy4"/>
    <dgm:cxn modelId="{8E097DCE-06C3-4C7E-99D5-EF0A9919FAFF}" type="presParOf" srcId="{4C4E8DC2-DA43-41B7-BD05-B5EC0C6A3590}" destId="{F70A48A8-2343-4B01-B54D-6A1D0AB9A2CD}" srcOrd="3" destOrd="0" presId="urn:microsoft.com/office/officeart/2005/8/layout/hierarchy4"/>
    <dgm:cxn modelId="{48977829-2EBF-45BE-85F8-6E9AA45B2070}" type="presParOf" srcId="{4C4E8DC2-DA43-41B7-BD05-B5EC0C6A3590}" destId="{EAB7C434-9348-4D3D-A7A6-5AC165BDB82F}" srcOrd="4" destOrd="0" presId="urn:microsoft.com/office/officeart/2005/8/layout/hierarchy4"/>
    <dgm:cxn modelId="{9F428F8A-1F25-422B-86EA-EB7E9812E4DC}" type="presParOf" srcId="{EAB7C434-9348-4D3D-A7A6-5AC165BDB82F}" destId="{E2DE9ADE-E38C-4794-A984-C142989EE555}" srcOrd="0" destOrd="0" presId="urn:microsoft.com/office/officeart/2005/8/layout/hierarchy4"/>
    <dgm:cxn modelId="{44F719DD-6E76-49A5-977A-DC1F76AF0B04}" type="presParOf" srcId="{EAB7C434-9348-4D3D-A7A6-5AC165BDB82F}" destId="{E5F9CE61-654A-476E-AE16-AE589FD78607}" srcOrd="1" destOrd="0" presId="urn:microsoft.com/office/officeart/2005/8/layout/hierarchy4"/>
    <dgm:cxn modelId="{B16AE073-7879-4653-962A-878679C232CD}" type="presParOf" srcId="{EAB7C434-9348-4D3D-A7A6-5AC165BDB82F}" destId="{9ED0236E-E2CC-4132-A7F2-90BEE8EE0054}" srcOrd="2" destOrd="0" presId="urn:microsoft.com/office/officeart/2005/8/layout/hierarchy4"/>
    <dgm:cxn modelId="{8C60D462-CAF9-4A1D-98B9-A9EB33E4ADC6}" type="presParOf" srcId="{9ED0236E-E2CC-4132-A7F2-90BEE8EE0054}" destId="{7D3D9C04-D70D-4B52-9D6C-C1F074CA2798}" srcOrd="0" destOrd="0" presId="urn:microsoft.com/office/officeart/2005/8/layout/hierarchy4"/>
    <dgm:cxn modelId="{A50E9D42-3B69-4F97-A88B-E097BD5CEC8F}" type="presParOf" srcId="{7D3D9C04-D70D-4B52-9D6C-C1F074CA2798}" destId="{EA73F862-C72A-4149-AFBF-4B5793DFED91}" srcOrd="0" destOrd="0" presId="urn:microsoft.com/office/officeart/2005/8/layout/hierarchy4"/>
    <dgm:cxn modelId="{3C97537C-9FA2-4B93-9C2F-5CBB7FE12A18}" type="presParOf" srcId="{7D3D9C04-D70D-4B52-9D6C-C1F074CA2798}" destId="{75A0B576-D7DD-4E54-B19C-9F5370FA15C4}" srcOrd="1" destOrd="0" presId="urn:microsoft.com/office/officeart/2005/8/layout/hierarchy4"/>
    <dgm:cxn modelId="{7BC50FE6-B6D0-4705-9E3A-56FFED6B280A}" type="presParOf" srcId="{9ED0236E-E2CC-4132-A7F2-90BEE8EE0054}" destId="{6E52170B-BE7E-418A-9C54-26AAC3236CC7}" srcOrd="1" destOrd="0" presId="urn:microsoft.com/office/officeart/2005/8/layout/hierarchy4"/>
    <dgm:cxn modelId="{0F82EB26-CBF5-45D1-BDDA-4995210C20AD}" type="presParOf" srcId="{9ED0236E-E2CC-4132-A7F2-90BEE8EE0054}" destId="{6233EABC-5254-4E32-B316-4B8D6E4E20B3}" srcOrd="2" destOrd="0" presId="urn:microsoft.com/office/officeart/2005/8/layout/hierarchy4"/>
    <dgm:cxn modelId="{A01382E4-9EAA-4E97-A542-774A3A105812}" type="presParOf" srcId="{6233EABC-5254-4E32-B316-4B8D6E4E20B3}" destId="{F70AA033-B05D-4D4B-AC08-6218D6CED6A0}" srcOrd="0" destOrd="0" presId="urn:microsoft.com/office/officeart/2005/8/layout/hierarchy4"/>
    <dgm:cxn modelId="{31921073-52B5-4CD4-B74C-8C6A751DC847}" type="presParOf" srcId="{6233EABC-5254-4E32-B316-4B8D6E4E20B3}" destId="{89135941-576A-477B-A8C8-B8F1DAF728C1}"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EC867C-41B9-EF4F-8AA0-4D777E8C39EF}">
      <dsp:nvSpPr>
        <dsp:cNvPr id="0" name=""/>
        <dsp:cNvSpPr/>
      </dsp:nvSpPr>
      <dsp:spPr>
        <a:xfrm>
          <a:off x="6678" y="0"/>
          <a:ext cx="4741682" cy="1236671"/>
        </a:xfrm>
        <a:prstGeom prst="homePlate">
          <a:avLst/>
        </a:prstGeom>
        <a:solidFill>
          <a:schemeClr val="tx2">
            <a:alpha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l" defTabSz="800100">
            <a:lnSpc>
              <a:spcPct val="90000"/>
            </a:lnSpc>
            <a:spcBef>
              <a:spcPct val="0"/>
            </a:spcBef>
            <a:spcAft>
              <a:spcPct val="35000"/>
            </a:spcAft>
            <a:buNone/>
          </a:pPr>
          <a:r>
            <a:rPr lang="de-DE" sz="1800" kern="1200" err="1"/>
            <a:t>ChatGPT</a:t>
          </a:r>
          <a:r>
            <a:rPr lang="de-DE" sz="1800" kern="1200"/>
            <a:t> kann viel – </a:t>
          </a:r>
          <a:br>
            <a:rPr lang="de-DE" sz="1800" kern="1200"/>
          </a:br>
          <a:r>
            <a:rPr lang="de-DE" sz="1800" kern="1200"/>
            <a:t>aber keine Gedanken lesen</a:t>
          </a:r>
        </a:p>
      </dsp:txBody>
      <dsp:txXfrm>
        <a:off x="6678" y="0"/>
        <a:ext cx="4432514" cy="1236671"/>
      </dsp:txXfrm>
    </dsp:sp>
    <dsp:sp modelId="{07B9A731-D365-FF4A-A62D-52C50783F721}">
      <dsp:nvSpPr>
        <dsp:cNvPr id="0" name=""/>
        <dsp:cNvSpPr/>
      </dsp:nvSpPr>
      <dsp:spPr>
        <a:xfrm>
          <a:off x="3800024" y="0"/>
          <a:ext cx="4741682" cy="1236671"/>
        </a:xfrm>
        <a:prstGeom prst="chevron">
          <a:avLst/>
        </a:prstGeom>
        <a:solidFill>
          <a:schemeClr val="tx2">
            <a:alpha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l" defTabSz="800100">
            <a:lnSpc>
              <a:spcPct val="90000"/>
            </a:lnSpc>
            <a:spcBef>
              <a:spcPct val="0"/>
            </a:spcBef>
            <a:spcAft>
              <a:spcPct val="35000"/>
            </a:spcAft>
            <a:buNone/>
          </a:pPr>
          <a:r>
            <a:rPr lang="de-DE" sz="1800" kern="1200" dirty="0"/>
            <a:t>Anweisungen so detailliert 	wie möglich formulieren</a:t>
          </a:r>
        </a:p>
      </dsp:txBody>
      <dsp:txXfrm>
        <a:off x="4418360" y="0"/>
        <a:ext cx="3505011" cy="12366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EC867C-41B9-EF4F-8AA0-4D777E8C39EF}">
      <dsp:nvSpPr>
        <dsp:cNvPr id="0" name=""/>
        <dsp:cNvSpPr/>
      </dsp:nvSpPr>
      <dsp:spPr>
        <a:xfrm>
          <a:off x="0" y="0"/>
          <a:ext cx="4741682" cy="1236671"/>
        </a:xfrm>
        <a:prstGeom prst="homePlate">
          <a:avLst/>
        </a:prstGeom>
        <a:solidFill>
          <a:schemeClr val="tx2">
            <a:alpha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l" defTabSz="800100">
            <a:lnSpc>
              <a:spcPct val="90000"/>
            </a:lnSpc>
            <a:spcBef>
              <a:spcPct val="0"/>
            </a:spcBef>
            <a:spcAft>
              <a:spcPct val="35000"/>
            </a:spcAft>
            <a:buNone/>
          </a:pPr>
          <a:r>
            <a:rPr lang="de-DE" sz="1800" kern="1200"/>
            <a:t>Jedes eingegebene Wort beeinflusst die Ausgabe </a:t>
          </a:r>
        </a:p>
      </dsp:txBody>
      <dsp:txXfrm>
        <a:off x="0" y="0"/>
        <a:ext cx="4432514" cy="1236671"/>
      </dsp:txXfrm>
    </dsp:sp>
    <dsp:sp modelId="{07B9A731-D365-FF4A-A62D-52C50783F721}">
      <dsp:nvSpPr>
        <dsp:cNvPr id="0" name=""/>
        <dsp:cNvSpPr/>
      </dsp:nvSpPr>
      <dsp:spPr>
        <a:xfrm>
          <a:off x="3800024" y="0"/>
          <a:ext cx="4741682" cy="1236671"/>
        </a:xfrm>
        <a:prstGeom prst="chevron">
          <a:avLst/>
        </a:prstGeom>
        <a:solidFill>
          <a:schemeClr val="tx2">
            <a:alpha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l" defTabSz="800100">
            <a:lnSpc>
              <a:spcPct val="90000"/>
            </a:lnSpc>
            <a:spcBef>
              <a:spcPct val="0"/>
            </a:spcBef>
            <a:spcAft>
              <a:spcPct val="35000"/>
            </a:spcAft>
            <a:buNone/>
          </a:pPr>
          <a:r>
            <a:rPr lang="de-DE" sz="1800" kern="1200"/>
            <a:t>	Input auf Relevanz &amp; 	Passgenauigkeit prüfen </a:t>
          </a:r>
        </a:p>
      </dsp:txBody>
      <dsp:txXfrm>
        <a:off x="4418360" y="0"/>
        <a:ext cx="3505011" cy="123667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EC867C-41B9-EF4F-8AA0-4D777E8C39EF}">
      <dsp:nvSpPr>
        <dsp:cNvPr id="0" name=""/>
        <dsp:cNvSpPr/>
      </dsp:nvSpPr>
      <dsp:spPr>
        <a:xfrm>
          <a:off x="0" y="0"/>
          <a:ext cx="4741682" cy="1236671"/>
        </a:xfrm>
        <a:prstGeom prst="homePlate">
          <a:avLst/>
        </a:prstGeom>
        <a:solidFill>
          <a:schemeClr val="tx2">
            <a:alpha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l" defTabSz="800100">
            <a:lnSpc>
              <a:spcPct val="90000"/>
            </a:lnSpc>
            <a:spcBef>
              <a:spcPct val="0"/>
            </a:spcBef>
            <a:spcAft>
              <a:spcPct val="35000"/>
            </a:spcAft>
            <a:buNone/>
          </a:pPr>
          <a:r>
            <a:rPr lang="de-DE" sz="1800" kern="1200"/>
            <a:t>Negationen können falsch interpretiert werden</a:t>
          </a:r>
        </a:p>
      </dsp:txBody>
      <dsp:txXfrm>
        <a:off x="0" y="0"/>
        <a:ext cx="4432514" cy="1236671"/>
      </dsp:txXfrm>
    </dsp:sp>
    <dsp:sp modelId="{07B9A731-D365-FF4A-A62D-52C50783F721}">
      <dsp:nvSpPr>
        <dsp:cNvPr id="0" name=""/>
        <dsp:cNvSpPr/>
      </dsp:nvSpPr>
      <dsp:spPr>
        <a:xfrm>
          <a:off x="3800024" y="0"/>
          <a:ext cx="4741682" cy="1236671"/>
        </a:xfrm>
        <a:prstGeom prst="chevron">
          <a:avLst/>
        </a:prstGeom>
        <a:solidFill>
          <a:schemeClr val="tx2">
            <a:alpha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l" defTabSz="800100">
            <a:lnSpc>
              <a:spcPct val="90000"/>
            </a:lnSpc>
            <a:spcBef>
              <a:spcPct val="0"/>
            </a:spcBef>
            <a:spcAft>
              <a:spcPct val="35000"/>
            </a:spcAft>
            <a:buNone/>
          </a:pPr>
          <a:r>
            <a:rPr lang="de-DE" sz="1800" kern="1200"/>
            <a:t>	Negation vermeiden</a:t>
          </a:r>
        </a:p>
      </dsp:txBody>
      <dsp:txXfrm>
        <a:off x="4418360" y="0"/>
        <a:ext cx="3505011" cy="123667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DAD087-AC60-40CF-90DD-B38FC9D3E1DC}">
      <dsp:nvSpPr>
        <dsp:cNvPr id="0" name=""/>
        <dsp:cNvSpPr/>
      </dsp:nvSpPr>
      <dsp:spPr>
        <a:xfrm>
          <a:off x="0" y="0"/>
          <a:ext cx="6693262" cy="61928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de-DE" sz="3600" kern="1200"/>
            <a:t>Texterzeugung</a:t>
          </a:r>
          <a:endParaRPr lang="de-DE" sz="4800" kern="1200"/>
        </a:p>
      </dsp:txBody>
      <dsp:txXfrm>
        <a:off x="18138" y="18138"/>
        <a:ext cx="6656986" cy="583008"/>
      </dsp:txXfrm>
    </dsp:sp>
    <dsp:sp modelId="{8D5AA6DA-2C32-4F42-AED2-2394D4B13453}">
      <dsp:nvSpPr>
        <dsp:cNvPr id="0" name=""/>
        <dsp:cNvSpPr/>
      </dsp:nvSpPr>
      <dsp:spPr>
        <a:xfrm>
          <a:off x="7253" y="731649"/>
          <a:ext cx="1118688" cy="61928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kern="1200"/>
            <a:t>Texte zusammenfassen</a:t>
          </a:r>
        </a:p>
      </dsp:txBody>
      <dsp:txXfrm>
        <a:off x="25391" y="749787"/>
        <a:ext cx="1082412" cy="583008"/>
      </dsp:txXfrm>
    </dsp:sp>
    <dsp:sp modelId="{C14B4932-AE29-4172-A972-BEFC2F964206}">
      <dsp:nvSpPr>
        <dsp:cNvPr id="0" name=""/>
        <dsp:cNvSpPr/>
      </dsp:nvSpPr>
      <dsp:spPr>
        <a:xfrm>
          <a:off x="1214186" y="731649"/>
          <a:ext cx="3239835" cy="61928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Neue Texte“ erzeugen</a:t>
          </a:r>
        </a:p>
      </dsp:txBody>
      <dsp:txXfrm>
        <a:off x="1232324" y="749787"/>
        <a:ext cx="3203559" cy="583008"/>
      </dsp:txXfrm>
    </dsp:sp>
    <dsp:sp modelId="{D00A764E-3F3E-496F-9381-91C964E71DDC}">
      <dsp:nvSpPr>
        <dsp:cNvPr id="0" name=""/>
        <dsp:cNvSpPr/>
      </dsp:nvSpPr>
      <dsp:spPr>
        <a:xfrm>
          <a:off x="1214186" y="1462416"/>
          <a:ext cx="1050530" cy="61928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Klassische“ Texte</a:t>
          </a:r>
        </a:p>
      </dsp:txBody>
      <dsp:txXfrm>
        <a:off x="1232324" y="1480554"/>
        <a:ext cx="1014254" cy="583008"/>
      </dsp:txXfrm>
    </dsp:sp>
    <dsp:sp modelId="{76B718F5-BCE2-4C55-A04A-0664C8545036}">
      <dsp:nvSpPr>
        <dsp:cNvPr id="0" name=""/>
        <dsp:cNvSpPr/>
      </dsp:nvSpPr>
      <dsp:spPr>
        <a:xfrm>
          <a:off x="2308839" y="1462416"/>
          <a:ext cx="1050530" cy="61928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Code</a:t>
          </a:r>
        </a:p>
      </dsp:txBody>
      <dsp:txXfrm>
        <a:off x="2326977" y="1480554"/>
        <a:ext cx="1014254" cy="583008"/>
      </dsp:txXfrm>
    </dsp:sp>
    <dsp:sp modelId="{36CAD9A9-FB29-43EB-930F-7E24EFB75A63}">
      <dsp:nvSpPr>
        <dsp:cNvPr id="0" name=""/>
        <dsp:cNvSpPr/>
      </dsp:nvSpPr>
      <dsp:spPr>
        <a:xfrm>
          <a:off x="3403491" y="1462416"/>
          <a:ext cx="1050530" cy="61928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Mindmap / Folien</a:t>
          </a:r>
        </a:p>
      </dsp:txBody>
      <dsp:txXfrm>
        <a:off x="3421629" y="1480554"/>
        <a:ext cx="1014254" cy="583008"/>
      </dsp:txXfrm>
    </dsp:sp>
    <dsp:sp modelId="{E2DE9ADE-E38C-4794-A984-C142989EE555}">
      <dsp:nvSpPr>
        <dsp:cNvPr id="0" name=""/>
        <dsp:cNvSpPr/>
      </dsp:nvSpPr>
      <dsp:spPr>
        <a:xfrm>
          <a:off x="4542266" y="731649"/>
          <a:ext cx="2145182" cy="61928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Wissen vermitteln</a:t>
          </a:r>
        </a:p>
      </dsp:txBody>
      <dsp:txXfrm>
        <a:off x="4560404" y="749787"/>
        <a:ext cx="2108906" cy="583008"/>
      </dsp:txXfrm>
    </dsp:sp>
    <dsp:sp modelId="{EA73F862-C72A-4149-AFBF-4B5793DFED91}">
      <dsp:nvSpPr>
        <dsp:cNvPr id="0" name=""/>
        <dsp:cNvSpPr/>
      </dsp:nvSpPr>
      <dsp:spPr>
        <a:xfrm>
          <a:off x="4542266" y="1462416"/>
          <a:ext cx="1050530" cy="61928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a:t>Konversation / Beantwortung von Fragen</a:t>
          </a:r>
        </a:p>
      </dsp:txBody>
      <dsp:txXfrm>
        <a:off x="4560404" y="1480554"/>
        <a:ext cx="1014254" cy="583008"/>
      </dsp:txXfrm>
    </dsp:sp>
    <dsp:sp modelId="{F70AA033-B05D-4D4B-AC08-6218D6CED6A0}">
      <dsp:nvSpPr>
        <dsp:cNvPr id="0" name=""/>
        <dsp:cNvSpPr/>
      </dsp:nvSpPr>
      <dsp:spPr>
        <a:xfrm>
          <a:off x="5636919" y="1462416"/>
          <a:ext cx="1050530" cy="619284"/>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t>Erklären von Texten (auch Code)</a:t>
          </a:r>
        </a:p>
      </dsp:txBody>
      <dsp:txXfrm>
        <a:off x="5655057" y="1480554"/>
        <a:ext cx="1014254" cy="583008"/>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292600" cy="3444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5611813" y="0"/>
            <a:ext cx="4292600" cy="344488"/>
          </a:xfrm>
          <a:prstGeom prst="rect">
            <a:avLst/>
          </a:prstGeom>
        </p:spPr>
        <p:txBody>
          <a:bodyPr vert="horz" lIns="91440" tIns="45720" rIns="91440" bIns="45720" rtlCol="0"/>
          <a:lstStyle>
            <a:lvl1pPr algn="r">
              <a:defRPr sz="1200"/>
            </a:lvl1pPr>
          </a:lstStyle>
          <a:p>
            <a:fld id="{28354FD8-EB7C-4491-B72D-A6F8E1E773AB}" type="datetimeFigureOut">
              <a:rPr lang="de-DE" smtClean="0"/>
              <a:t>12.04.2024</a:t>
            </a:fld>
            <a:endParaRPr lang="de-DE"/>
          </a:p>
        </p:txBody>
      </p:sp>
      <p:sp>
        <p:nvSpPr>
          <p:cNvPr id="4" name="Folienbildplatzhalter 3"/>
          <p:cNvSpPr>
            <a:spLocks noGrp="1" noRot="1" noChangeAspect="1"/>
          </p:cNvSpPr>
          <p:nvPr>
            <p:ph type="sldImg" idx="2"/>
          </p:nvPr>
        </p:nvSpPr>
        <p:spPr>
          <a:xfrm>
            <a:off x="2895600" y="857250"/>
            <a:ext cx="4114800" cy="231457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990600" y="3300413"/>
            <a:ext cx="7924800" cy="2700337"/>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6513513"/>
            <a:ext cx="4292600" cy="3444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5611813" y="6513513"/>
            <a:ext cx="4292600" cy="344487"/>
          </a:xfrm>
          <a:prstGeom prst="rect">
            <a:avLst/>
          </a:prstGeom>
        </p:spPr>
        <p:txBody>
          <a:bodyPr vert="horz" lIns="91440" tIns="45720" rIns="91440" bIns="45720" rtlCol="0" anchor="b"/>
          <a:lstStyle>
            <a:lvl1pPr algn="r">
              <a:defRPr sz="1200"/>
            </a:lvl1pPr>
          </a:lstStyle>
          <a:p>
            <a:fld id="{53B5FC97-C987-4D73-85FB-29610C2F4C2A}" type="slidenum">
              <a:rPr lang="de-DE" smtClean="0"/>
              <a:t>‹Nr.›</a:t>
            </a:fld>
            <a:endParaRPr lang="de-DE"/>
          </a:p>
        </p:txBody>
      </p:sp>
    </p:spTree>
    <p:extLst>
      <p:ext uri="{BB962C8B-B14F-4D97-AF65-F5344CB8AC3E}">
        <p14:creationId xmlns:p14="http://schemas.microsoft.com/office/powerpoint/2010/main" val="5606970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semanticscholar.org/paper/Documenting-the-English-Colossal-Clean-Crawled-Dodge-Sap/40c3327a6ddb0603b6892344509c7f428ab43d81?itid=lk_inline_enhanced-template" TargetMode="External"/><Relationship Id="rId2" Type="http://schemas.openxmlformats.org/officeDocument/2006/relationships/slide" Target="../slides/slide31.xml"/><Relationship Id="rId1" Type="http://schemas.openxmlformats.org/officeDocument/2006/relationships/notesMaster" Target="../notesMasters/notesMaster1.xml"/><Relationship Id="rId5" Type="http://schemas.openxmlformats.org/officeDocument/2006/relationships/hyperlink" Target="https://www.bloomberg.com/news/articles/2023-02-17/openai-is-faulted-by-media-for-using-articles-to-train-chatgpt#xj4y7vzkg" TargetMode="External"/><Relationship Id="rId4" Type="http://schemas.openxmlformats.org/officeDocument/2006/relationships/hyperlink" Target="https://ustr.gov/sites/default/files/IssueAreas/IP/2021%20Notorious%20Markets%20List.pdf"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nature.com/articles/nbt1205-1499"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850">
                <a:latin typeface="Calibri"/>
                <a:cs typeface="Calibri"/>
              </a:rPr>
              <a:t>Image Generated using Deep Dream Generator</a:t>
            </a:r>
            <a:endParaRPr lang="de-DE"/>
          </a:p>
        </p:txBody>
      </p:sp>
    </p:spTree>
    <p:extLst>
      <p:ext uri="{BB962C8B-B14F-4D97-AF65-F5344CB8AC3E}">
        <p14:creationId xmlns:p14="http://schemas.microsoft.com/office/powerpoint/2010/main" val="16115822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Jailbreak</a:t>
            </a:r>
          </a:p>
          <a:p>
            <a:r>
              <a:rPr lang="de-DE" dirty="0"/>
              <a:t># </a:t>
            </a:r>
            <a:r>
              <a:rPr lang="de-DE" dirty="0" err="1"/>
              <a:t>Role</a:t>
            </a:r>
            <a:r>
              <a:rPr lang="de-DE" dirty="0"/>
              <a:t>-Play Model Exploit</a:t>
            </a:r>
          </a:p>
          <a:p>
            <a:endParaRPr lang="de-DE" dirty="0"/>
          </a:p>
        </p:txBody>
      </p:sp>
      <p:sp>
        <p:nvSpPr>
          <p:cNvPr id="4" name="Foliennummernplatzhalter 3"/>
          <p:cNvSpPr>
            <a:spLocks noGrp="1"/>
          </p:cNvSpPr>
          <p:nvPr>
            <p:ph type="sldNum" sz="quarter" idx="5"/>
          </p:nvPr>
        </p:nvSpPr>
        <p:spPr/>
        <p:txBody>
          <a:bodyPr/>
          <a:lstStyle/>
          <a:p>
            <a:fld id="{BB235E42-08C2-4B51-8226-949D8765D5FF}" type="slidenum">
              <a:rPr lang="en-US" smtClean="0"/>
              <a:t>20</a:t>
            </a:fld>
            <a:endParaRPr lang="en-US"/>
          </a:p>
        </p:txBody>
      </p:sp>
    </p:spTree>
    <p:extLst>
      <p:ext uri="{BB962C8B-B14F-4D97-AF65-F5344CB8AC3E}">
        <p14:creationId xmlns:p14="http://schemas.microsoft.com/office/powerpoint/2010/main" val="519640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err="1"/>
              <a:t>ChatGPT</a:t>
            </a:r>
            <a:r>
              <a:rPr lang="de-DE" sz="1200" dirty="0"/>
              <a:t> ist sehr mächtiges und gehyptes Tool, Möglichkeiten sind vielfältig, jedoch muss Nutzung erlernt werden für optimale Ergebnis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Ziel des Kapitels vermitteln:</a:t>
            </a:r>
          </a:p>
          <a:p>
            <a:pPr marL="171450" marR="0" lvl="0" indent="-171450" algn="l" defTabSz="914400" rtl="0" eaLnBrk="0" fontAlgn="base" latinLnBrk="0" hangingPunct="0">
              <a:lnSpc>
                <a:spcPct val="100000"/>
              </a:lnSpc>
              <a:spcBef>
                <a:spcPct val="30000"/>
              </a:spcBef>
              <a:spcAft>
                <a:spcPct val="0"/>
              </a:spcAft>
              <a:buClrTx/>
              <a:buSzTx/>
              <a:buFontTx/>
              <a:buChar char="-"/>
              <a:tabLst/>
              <a:defRPr/>
            </a:pPr>
            <a:r>
              <a:rPr lang="de-DE" sz="1200" dirty="0"/>
              <a:t>Nützliche Strategien werden vermittelt und erklärt</a:t>
            </a:r>
          </a:p>
          <a:p>
            <a:pPr marL="171450" marR="0" lvl="0" indent="-171450" algn="l" defTabSz="914400" rtl="0" eaLnBrk="0" fontAlgn="base" latinLnBrk="0" hangingPunct="0">
              <a:lnSpc>
                <a:spcPct val="100000"/>
              </a:lnSpc>
              <a:spcBef>
                <a:spcPct val="30000"/>
              </a:spcBef>
              <a:spcAft>
                <a:spcPct val="0"/>
              </a:spcAft>
              <a:buClrTx/>
              <a:buSzTx/>
              <a:buFontTx/>
              <a:buChar char="-"/>
              <a:tabLst/>
              <a:defRPr/>
            </a:pPr>
            <a:r>
              <a:rPr lang="de-DE" sz="1200" dirty="0"/>
              <a:t>Im folgenden Kapitel werden Grundlagen zunächst erläutert, Anwendung folgt in späterem Kapitel</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https://github.com/openai/openai-cookbook/blob/main/techniques_to_improve_reliability.md#how-to-improve-reliability-on-complex-task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Feedback zur Überarbeitung</a:t>
            </a:r>
          </a:p>
          <a:p>
            <a:pPr marL="0" indent="0">
              <a:buFont typeface="Wingdings" panose="05000000000000000000" pitchFamily="2" charset="2"/>
              <a:buNone/>
            </a:pPr>
            <a:endParaRPr lang="en-US" sz="1200" baseline="0" dirty="0"/>
          </a:p>
          <a:p>
            <a:pPr marL="0" indent="0">
              <a:buFont typeface="Wingdings" panose="05000000000000000000" pitchFamily="2" charset="2"/>
              <a:buNone/>
            </a:pPr>
            <a:r>
              <a:rPr lang="en-US" sz="1200" baseline="0" dirty="0" err="1"/>
              <a:t>n.a.</a:t>
            </a:r>
            <a:endParaRPr lang="en-US" sz="1200" baseline="0" dirty="0"/>
          </a:p>
          <a:p>
            <a:endParaRPr lang="en-US" dirty="0"/>
          </a:p>
          <a:p>
            <a:endParaRPr lang="en-US" dirty="0"/>
          </a:p>
        </p:txBody>
      </p:sp>
      <p:sp>
        <p:nvSpPr>
          <p:cNvPr id="4" name="Foliennummernplatzhalter 3"/>
          <p:cNvSpPr>
            <a:spLocks noGrp="1"/>
          </p:cNvSpPr>
          <p:nvPr>
            <p:ph type="sldNum" sz="quarter" idx="5"/>
          </p:nvPr>
        </p:nvSpPr>
        <p:spPr/>
        <p:txBody>
          <a:bodyPr/>
          <a:lstStyle/>
          <a:p>
            <a:fld id="{BB235E42-08C2-4B51-8226-949D8765D5FF}" type="slidenum">
              <a:rPr lang="en-US" smtClean="0"/>
              <a:t>21</a:t>
            </a:fld>
            <a:endParaRPr lang="en-US"/>
          </a:p>
        </p:txBody>
      </p:sp>
    </p:spTree>
    <p:extLst>
      <p:ext uri="{BB962C8B-B14F-4D97-AF65-F5344CB8AC3E}">
        <p14:creationId xmlns:p14="http://schemas.microsoft.com/office/powerpoint/2010/main" val="735318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Man sollte  eher positive als negative Formulierungen verwenden, also z.B. "schreibe formell" statt "schreibe nicht informell".</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err="1"/>
              <a:t>n.a.</a:t>
            </a: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err="1"/>
              <a:t>ChatGPT</a:t>
            </a:r>
            <a:r>
              <a:rPr lang="de-DE"/>
              <a:t> </a:t>
            </a:r>
            <a:r>
              <a:rPr lang="de-DE" err="1"/>
              <a:t>for</a:t>
            </a:r>
            <a:r>
              <a:rPr lang="de-DE"/>
              <a:t> </a:t>
            </a:r>
            <a:r>
              <a:rPr lang="de-DE" err="1"/>
              <a:t>higher</a:t>
            </a:r>
            <a:r>
              <a:rPr lang="de-DE"/>
              <a:t> </a:t>
            </a:r>
            <a:r>
              <a:rPr lang="de-DE" err="1"/>
              <a:t>education</a:t>
            </a:r>
            <a:r>
              <a:rPr lang="de-DE"/>
              <a:t> and professional </a:t>
            </a:r>
            <a:r>
              <a:rPr lang="de-DE" err="1"/>
              <a:t>development</a:t>
            </a:r>
            <a:r>
              <a:rPr lang="de-DE"/>
              <a:t>: A </a:t>
            </a:r>
            <a:r>
              <a:rPr lang="de-DE" err="1"/>
              <a:t>guide</a:t>
            </a:r>
            <a:r>
              <a:rPr lang="de-DE"/>
              <a:t> </a:t>
            </a:r>
            <a:r>
              <a:rPr lang="de-DE" err="1"/>
              <a:t>to</a:t>
            </a:r>
            <a:r>
              <a:rPr lang="de-DE"/>
              <a:t> </a:t>
            </a:r>
            <a:r>
              <a:rPr lang="de-DE" err="1"/>
              <a:t>conversational</a:t>
            </a:r>
            <a:r>
              <a:rPr lang="de-DE"/>
              <a:t> AI</a:t>
            </a:r>
            <a:br>
              <a:rPr lang="de-DE"/>
            </a:br>
            <a:r>
              <a:rPr lang="de-DE"/>
              <a:t>https://the-decoder.de/chatgpt-guide-prompt-strategien</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a:t>https://www.quantamagazine.org/ai-like-chatgpt-are-no-good-at-not-20230512/</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Feedback zur Überarbeitung</a:t>
            </a:r>
          </a:p>
          <a:p>
            <a:pPr marL="0" indent="0">
              <a:buFont typeface="Wingdings" panose="05000000000000000000" pitchFamily="2" charset="2"/>
              <a:buNone/>
            </a:pPr>
            <a:endParaRPr lang="en-US" sz="1200" baseline="0"/>
          </a:p>
          <a:p>
            <a:pPr marL="0" indent="0">
              <a:buFont typeface="Wingdings" panose="05000000000000000000" pitchFamily="2" charset="2"/>
              <a:buNone/>
            </a:pPr>
            <a:r>
              <a:rPr lang="en-US" sz="1200" baseline="0" err="1"/>
              <a:t>n.a.</a:t>
            </a:r>
            <a:endParaRPr lang="en-US" sz="1200" baseline="0"/>
          </a:p>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46932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Die Grundidee des </a:t>
            </a:r>
            <a:r>
              <a:rPr lang="de-DE" b="1" dirty="0"/>
              <a:t>Backpropagation</a:t>
            </a:r>
            <a:r>
              <a:rPr lang="de-DE" dirty="0"/>
              <a:t>-</a:t>
            </a:r>
            <a:r>
              <a:rPr lang="de-DE" b="1" dirty="0"/>
              <a:t>Algorithmus</a:t>
            </a:r>
            <a:r>
              <a:rPr lang="de-DE" dirty="0"/>
              <a:t> ist eine fortlaufende Anpassung der Verbindungsgewichte zwischen den Neuronen, bis die berechnete Ausgabe des neuronalen Netzes hinreichend genau mit der gewünschten Ausgabe, dem Label, übereinstimmt.</a:t>
            </a: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dirty="0"/>
          </a:p>
          <a:p>
            <a:pPr algn="l">
              <a:buFont typeface="Arial" panose="020B0604020202020204" pitchFamily="34" charset="0"/>
              <a:buNone/>
            </a:pPr>
            <a:r>
              <a:rPr lang="de-DE" b="1" i="0" dirty="0">
                <a:solidFill>
                  <a:srgbClr val="000000"/>
                </a:solidFill>
                <a:effectLst/>
                <a:latin typeface="Söhne"/>
              </a:rPr>
              <a:t>Über 70-jährige Geschichte der KI-Forschung: </a:t>
            </a:r>
            <a:r>
              <a:rPr lang="de-DE" b="0" i="0" dirty="0">
                <a:solidFill>
                  <a:srgbClr val="000000"/>
                </a:solidFill>
                <a:effectLst/>
                <a:latin typeface="Söhne"/>
              </a:rPr>
              <a:t>Die Geschichte der KI-Forschung geht auf die 1940er Jahre zurück und hat sich seitdem über mehrere Jahrzehnte entwickelt. Die Forschung in diesem Bereich hat zu bedeutenden Durchbrüchen wie der Entwicklung von Expertensystemen, neuronalen Netzwerken, Deep Learning und großen Sprachmodellen geführt. KI-Forschung ist heute ein breites Feld, das verschiedene Anwendungen wie Bild- und Spracherkennung, autonomes Fahren und Robotik umfasst.</a:t>
            </a:r>
          </a:p>
          <a:p>
            <a:pPr algn="l">
              <a:buFont typeface="Arial" panose="020B0604020202020204" pitchFamily="34" charset="0"/>
              <a:buNone/>
            </a:pPr>
            <a:endParaRPr lang="de-DE" b="0" i="0" dirty="0">
              <a:solidFill>
                <a:srgbClr val="000000"/>
              </a:solidFill>
              <a:effectLst/>
              <a:latin typeface="Söhne"/>
            </a:endParaRPr>
          </a:p>
          <a:p>
            <a:pPr algn="l">
              <a:buFont typeface="Arial" panose="020B0604020202020204" pitchFamily="34" charset="0"/>
              <a:buNone/>
            </a:pPr>
            <a:r>
              <a:rPr lang="de-DE" b="1" i="0" dirty="0">
                <a:solidFill>
                  <a:srgbClr val="000000"/>
                </a:solidFill>
                <a:effectLst/>
                <a:latin typeface="Söhne"/>
              </a:rPr>
              <a:t>Entwicklung des Turing-Tests (1950): </a:t>
            </a:r>
            <a:r>
              <a:rPr lang="de-DE" b="0" i="0" dirty="0">
                <a:solidFill>
                  <a:srgbClr val="000000"/>
                </a:solidFill>
                <a:effectLst/>
                <a:latin typeface="Söhne"/>
              </a:rPr>
              <a:t>Der Turing-Test wurde 1950 von Alan Turing vorgeschlagen und bezieht sich auf die Fähigkeit von Maschinen, menschenähnliche Konversationen zu führen. Der Test hat dazu beigetragen, den Fortschritt der KI-Forschung zu messen und hat dazu beigetragen, dass Forscher auf der ganzen Welt daran arbeiten, Maschinen immer menschenähnlicher und intelligenter zu machen.</a:t>
            </a:r>
          </a:p>
          <a:p>
            <a:pPr algn="l">
              <a:buFont typeface="Arial" panose="020B0604020202020204" pitchFamily="34" charset="0"/>
              <a:buChar char="•"/>
            </a:pPr>
            <a:endParaRPr lang="de-DE" b="0" i="0" dirty="0">
              <a:solidFill>
                <a:srgbClr val="000000"/>
              </a:solidFill>
              <a:effectLst/>
              <a:latin typeface="Söhne"/>
            </a:endParaRPr>
          </a:p>
          <a:p>
            <a:pPr algn="l">
              <a:buFont typeface="Arial" panose="020B0604020202020204" pitchFamily="34" charset="0"/>
              <a:buNone/>
            </a:pPr>
            <a:r>
              <a:rPr lang="de-DE" b="1" i="0" dirty="0">
                <a:solidFill>
                  <a:srgbClr val="000000"/>
                </a:solidFill>
                <a:effectLst/>
                <a:latin typeface="Söhne"/>
              </a:rPr>
              <a:t>Entwicklung des ersten neuronalen Netzwerks (1957): </a:t>
            </a:r>
            <a:r>
              <a:rPr lang="de-DE" b="0" i="0" dirty="0">
                <a:solidFill>
                  <a:srgbClr val="000000"/>
                </a:solidFill>
                <a:effectLst/>
                <a:latin typeface="Söhne"/>
              </a:rPr>
              <a:t>Das erste künstliche neuronale Netzwerk wurde 1957 von Frank Rosenblatt entwickelt und </a:t>
            </a:r>
            <a:r>
              <a:rPr lang="de-DE" b="0" i="0" dirty="0" err="1">
                <a:solidFill>
                  <a:srgbClr val="000000"/>
                </a:solidFill>
                <a:effectLst/>
                <a:latin typeface="Söhne"/>
              </a:rPr>
              <a:t>Perceptron</a:t>
            </a:r>
            <a:r>
              <a:rPr lang="de-DE" b="0" i="0" dirty="0">
                <a:solidFill>
                  <a:srgbClr val="000000"/>
                </a:solidFill>
                <a:effectLst/>
                <a:latin typeface="Söhne"/>
              </a:rPr>
              <a:t> genannt. Es wurde als Algorithmus zur Mustererkennung eingesetzt und war der erste Schritt zur Entwicklung moderner neuronaler Netzwerke.</a:t>
            </a:r>
          </a:p>
          <a:p>
            <a:pPr algn="l">
              <a:buFont typeface="Arial" panose="020B0604020202020204" pitchFamily="34" charset="0"/>
              <a:buNone/>
            </a:pPr>
            <a:endParaRPr lang="de-DE" b="0" i="0" dirty="0">
              <a:solidFill>
                <a:srgbClr val="000000"/>
              </a:solidFill>
              <a:effectLst/>
              <a:latin typeface="Söhne"/>
            </a:endParaRPr>
          </a:p>
          <a:p>
            <a:pPr algn="l">
              <a:buFont typeface="Arial" panose="020B0604020202020204" pitchFamily="34" charset="0"/>
              <a:buNone/>
            </a:pPr>
            <a:r>
              <a:rPr lang="de-DE" b="1" i="0" dirty="0">
                <a:solidFill>
                  <a:srgbClr val="000000"/>
                </a:solidFill>
                <a:effectLst/>
                <a:latin typeface="Söhne"/>
              </a:rPr>
              <a:t>Erfindung des Backpropagation-Algorithmus (1986): </a:t>
            </a:r>
            <a:r>
              <a:rPr lang="de-DE" b="0" i="0" dirty="0">
                <a:solidFill>
                  <a:srgbClr val="000000"/>
                </a:solidFill>
                <a:effectLst/>
                <a:latin typeface="Söhne"/>
              </a:rPr>
              <a:t>Der Backpropagation-Algorithmus ist eine Methode zur </a:t>
            </a:r>
            <a:r>
              <a:rPr lang="de-DE" b="0" i="0" dirty="0" err="1">
                <a:solidFill>
                  <a:srgbClr val="000000"/>
                </a:solidFill>
                <a:effectLst/>
                <a:latin typeface="Söhne"/>
              </a:rPr>
              <a:t>Trainierung</a:t>
            </a:r>
            <a:r>
              <a:rPr lang="de-DE" b="0" i="0" dirty="0">
                <a:solidFill>
                  <a:srgbClr val="000000"/>
                </a:solidFill>
                <a:effectLst/>
                <a:latin typeface="Söhne"/>
              </a:rPr>
              <a:t> von künstlichen neuronalen Netzwerken. Es wurde 1986 von David </a:t>
            </a:r>
            <a:r>
              <a:rPr lang="de-DE" b="0" i="0" dirty="0" err="1">
                <a:solidFill>
                  <a:srgbClr val="000000"/>
                </a:solidFill>
                <a:effectLst/>
                <a:latin typeface="Söhne"/>
              </a:rPr>
              <a:t>Rumelhart</a:t>
            </a:r>
            <a:r>
              <a:rPr lang="de-DE" b="0" i="0" dirty="0">
                <a:solidFill>
                  <a:srgbClr val="000000"/>
                </a:solidFill>
                <a:effectLst/>
                <a:latin typeface="Söhne"/>
              </a:rPr>
              <a:t>, Geoffrey </a:t>
            </a:r>
            <a:r>
              <a:rPr lang="de-DE" b="0" i="0" dirty="0" err="1">
                <a:solidFill>
                  <a:srgbClr val="000000"/>
                </a:solidFill>
                <a:effectLst/>
                <a:latin typeface="Söhne"/>
              </a:rPr>
              <a:t>Hinton</a:t>
            </a:r>
            <a:r>
              <a:rPr lang="de-DE" b="0" i="0" dirty="0">
                <a:solidFill>
                  <a:srgbClr val="000000"/>
                </a:solidFill>
                <a:effectLst/>
                <a:latin typeface="Söhne"/>
              </a:rPr>
              <a:t> und Ronald Williams entwickelt und ist ein wichtiger Meilenstein in der Geschichte der neuronalen Netzwerke und des maschinellen Lernens. Mit dieser Methode können künstliche neuronale Netzwerke mit mehreren Schichten trainiert werden, was zu bedeutenden Fortschritten in der Bild- und Spracherkennung geführt hat. </a:t>
            </a:r>
            <a:r>
              <a:rPr lang="de-DE" b="0" i="0" dirty="0">
                <a:solidFill>
                  <a:srgbClr val="374151"/>
                </a:solidFill>
                <a:effectLst/>
                <a:latin typeface="Söhne"/>
              </a:rPr>
              <a:t>Der Algorithmus  ist insbesondere wichtig für das Deep Learning, da er es ermöglicht, komplexe Modelle zu trainieren, die mehrere Schichten von Neuronen haben. Mit der Erfindung des Backpropagation-Algorithmus konnten künstliche neuronale Netzwerke mit mehreren Schichten trainiert werden, was zu bedeutenden Fortschritten in der Bild- und Spracherkennung und anderen Anwendungen des Deep Learning geführt hat. Ohne diesen Algorithmus wäre das Deep Learning heute nicht so weit fortgeschritten, wie es ist.</a:t>
            </a:r>
            <a:endParaRPr lang="de-DE" b="0" i="0" dirty="0">
              <a:solidFill>
                <a:srgbClr val="000000"/>
              </a:solidFill>
              <a:effectLst/>
              <a:latin typeface="Söhne"/>
            </a:endParaRPr>
          </a:p>
          <a:p>
            <a:pPr algn="l">
              <a:buFont typeface="Arial" panose="020B0604020202020204" pitchFamily="34" charset="0"/>
              <a:buNone/>
            </a:pPr>
            <a:endParaRPr lang="de-DE" b="0" i="0" dirty="0">
              <a:solidFill>
                <a:srgbClr val="000000"/>
              </a:solidFill>
              <a:effectLst/>
              <a:latin typeface="Söhne"/>
            </a:endParaRPr>
          </a:p>
          <a:p>
            <a:pPr algn="l">
              <a:buFont typeface="Arial" panose="020B0604020202020204" pitchFamily="34" charset="0"/>
              <a:buNone/>
            </a:pPr>
            <a:r>
              <a:rPr lang="de-DE" b="1" i="0" dirty="0">
                <a:solidFill>
                  <a:srgbClr val="000000"/>
                </a:solidFill>
                <a:effectLst/>
                <a:latin typeface="Söhne"/>
              </a:rPr>
              <a:t>Entwicklung der Transformer-Architektur (2017): </a:t>
            </a:r>
            <a:r>
              <a:rPr lang="de-DE" b="0" i="0" dirty="0">
                <a:solidFill>
                  <a:srgbClr val="000000"/>
                </a:solidFill>
                <a:effectLst/>
                <a:latin typeface="Söhne"/>
              </a:rPr>
              <a:t>Die Transformer-Architektur wurde 2017 von </a:t>
            </a:r>
            <a:r>
              <a:rPr lang="de-DE" b="0" i="0" dirty="0" err="1">
                <a:solidFill>
                  <a:srgbClr val="000000"/>
                </a:solidFill>
                <a:effectLst/>
                <a:latin typeface="Söhne"/>
              </a:rPr>
              <a:t>Vaswani</a:t>
            </a:r>
            <a:r>
              <a:rPr lang="de-DE" b="0" i="0" dirty="0">
                <a:solidFill>
                  <a:srgbClr val="000000"/>
                </a:solidFill>
                <a:effectLst/>
                <a:latin typeface="Söhne"/>
              </a:rPr>
              <a:t> et al. vorgestellt und ist ein wichtiger Durchbruch in der Entwicklung von großen Sprachmodellen. Es handelt sich um eine neuartige Architektur, die auf dem Konzept der „Attention“ beruht und es ermöglicht, lange Abhängigkeiten im Text besser zu modellieren und zu generieren. Die Transformer-Architektur bildet die Grundlage für viele bekannte große Sprachmodelle wie GPT-3 und hat zu bedeutenden Fortschritten in der Sprachgenerierung geführt.</a:t>
            </a:r>
          </a:p>
          <a:p>
            <a:br>
              <a:rPr lang="de-DE" b="0" i="0" dirty="0">
                <a:solidFill>
                  <a:srgbClr val="000000"/>
                </a:solidFill>
                <a:effectLst/>
                <a:latin typeface="Söhne"/>
              </a:rPr>
            </a:b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dirty="0" err="1"/>
              <a:t>n.a.</a:t>
            </a: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Feedback zur Überarbeitung</a:t>
            </a:r>
          </a:p>
          <a:p>
            <a:pPr marL="0" indent="0">
              <a:buFont typeface="Wingdings" panose="05000000000000000000" pitchFamily="2" charset="2"/>
              <a:buNone/>
            </a:pPr>
            <a:endParaRPr lang="en-US" sz="1200" baseline="0" dirty="0"/>
          </a:p>
          <a:p>
            <a:pPr marL="0" indent="0">
              <a:buFont typeface="Wingdings" panose="05000000000000000000" pitchFamily="2" charset="2"/>
              <a:buNone/>
            </a:pPr>
            <a:r>
              <a:rPr lang="en-US" sz="1200" baseline="0" dirty="0" err="1"/>
              <a:t>n.a.</a:t>
            </a:r>
            <a:endParaRPr lang="en-US" sz="1200" baseline="0" dirty="0"/>
          </a:p>
          <a:p>
            <a:pPr algn="l">
              <a:buFont typeface="Arial" panose="020B0604020202020204" pitchFamily="34" charset="0"/>
              <a:buNone/>
            </a:pPr>
            <a:endParaRPr lang="de-DE" b="1" i="0" dirty="0">
              <a:solidFill>
                <a:srgbClr val="000000"/>
              </a:solidFill>
              <a:effectLst/>
              <a:latin typeface="Söhne"/>
            </a:endParaRPr>
          </a:p>
          <a:p>
            <a:pPr algn="l">
              <a:buFont typeface="Arial" panose="020B0604020202020204" pitchFamily="34" charset="0"/>
              <a:buNone/>
            </a:pPr>
            <a:endParaRPr lang="de-DE" b="1" i="0" dirty="0">
              <a:solidFill>
                <a:srgbClr val="000000"/>
              </a:solidFill>
              <a:effectLst/>
              <a:latin typeface="Söhne"/>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0851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indent="0">
              <a:buFont typeface="Arial" panose="020B0604020202020204" pitchFamily="34" charset="0"/>
              <a:buNone/>
            </a:pPr>
            <a:endParaRPr lang="de-DE" b="1"/>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100" b="1"/>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100" b="1"/>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100" b="1" i="0" u="none" strike="noStrike" kern="1200" baseline="0">
                <a:solidFill>
                  <a:schemeClr val="tx1"/>
                </a:solidFill>
                <a:latin typeface="Trebuchet MS" pitchFamily="34" charset="0"/>
                <a:ea typeface="+mn-ea"/>
                <a:cs typeface="+mn-cs"/>
              </a:rPr>
              <a:t>Den Paradigmenwechsel in der Entwicklung hin zu </a:t>
            </a:r>
            <a:r>
              <a:rPr lang="de-DE" sz="1100" b="1" i="0" u="none" strike="noStrike" kern="1200" baseline="0" err="1">
                <a:solidFill>
                  <a:schemeClr val="tx1"/>
                </a:solidFill>
                <a:latin typeface="Trebuchet MS" pitchFamily="34" charset="0"/>
                <a:ea typeface="+mn-ea"/>
                <a:cs typeface="+mn-cs"/>
              </a:rPr>
              <a:t>Machine</a:t>
            </a:r>
            <a:r>
              <a:rPr lang="de-DE" sz="1100" b="1" i="0" u="none" strike="noStrike" kern="1200" baseline="0">
                <a:solidFill>
                  <a:schemeClr val="tx1"/>
                </a:solidFill>
                <a:latin typeface="Trebuchet MS" pitchFamily="34" charset="0"/>
                <a:ea typeface="+mn-ea"/>
                <a:cs typeface="+mn-cs"/>
              </a:rPr>
              <a:t> Learning verstehen:</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100" b="0" i="0" u="none" strike="noStrike" kern="1200" baseline="0" err="1">
                <a:solidFill>
                  <a:schemeClr val="tx1"/>
                </a:solidFill>
                <a:latin typeface="Trebuchet MS" pitchFamily="34" charset="0"/>
                <a:ea typeface="+mn-ea"/>
                <a:cs typeface="+mn-cs"/>
              </a:rPr>
              <a:t>Buxmann</a:t>
            </a:r>
            <a:r>
              <a:rPr lang="de-DE" sz="1100" b="0" i="0" u="none" strike="noStrike" kern="1200" baseline="0">
                <a:solidFill>
                  <a:schemeClr val="tx1"/>
                </a:solidFill>
                <a:latin typeface="Trebuchet MS" pitchFamily="34" charset="0"/>
                <a:ea typeface="+mn-ea"/>
                <a:cs typeface="+mn-cs"/>
              </a:rPr>
              <a:t> und Schmidt (2018, S.8): „Softwareentwickler müssen also nicht mehr ihr Wissen codieren und explizieren. Was harmlos klingt, ist ein Paradigmenwechsel. Nehmen wir als Beispiel das Erkennen von Katzen, Hunden oder anderen Tieren auf Bildern. Um dem Algorithmus eine Unterscheidung beizubringen, formuliert der Entwickler im Softwarecode nicht mehr explizit, dass eine Katze beispielsweise vier Pfoten, zwei Augen, scharfe Krallen und Fell hat. Vielmehr wird der Algorithmus mit vielen unterschiedlichen Tierfotos trainiert, anhand derer er selbstständig erlernt, wie die jeweiligen Tiere aussehen und sich von anderen Tieren unterscheiden. […] Dieses Prinzip lässt sich gut anhand von Abb. 1.4 verdeutlichen: Wir erkennen sofort, bei welchen Bildern es sich um einen Chihuahua und bei welchen es sich um einen Muffin handelt. Aber zu erklären, warum das Bild in eine bestimmte Kategorie fällt, ist nicht trivial.“</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100" b="1"/>
          </a:p>
          <a:p>
            <a:pPr marL="0" indent="0">
              <a:buFont typeface="Wingdings" panose="05000000000000000000" pitchFamily="2" charset="2"/>
              <a:buNone/>
            </a:pPr>
            <a:endParaRPr lang="de-DE" b="0" baseline="0"/>
          </a:p>
          <a:p>
            <a:pPr marL="0" indent="0">
              <a:buFont typeface="Wingdings" panose="05000000000000000000" pitchFamily="2" charset="2"/>
              <a:buNone/>
            </a:pPr>
            <a:r>
              <a:rPr lang="de-DE" b="0" baseline="0"/>
              <a:t>„</a:t>
            </a:r>
            <a:r>
              <a:rPr lang="de-DE" sz="1148" b="0" i="0" u="none" strike="noStrike" kern="1200" baseline="0">
                <a:solidFill>
                  <a:schemeClr val="tx1"/>
                </a:solidFill>
                <a:latin typeface="Trebuchet MS" pitchFamily="34" charset="0"/>
                <a:ea typeface="+mn-ea"/>
                <a:cs typeface="+mn-cs"/>
              </a:rPr>
              <a:t>Grundsätzlich lassen sich drei Arten des Maschinellen Lernens unterscheiden (</a:t>
            </a:r>
            <a:r>
              <a:rPr lang="de-DE" sz="1148" b="0" i="0" u="none" strike="noStrike" kern="1200" baseline="0" err="1">
                <a:solidFill>
                  <a:schemeClr val="tx1"/>
                </a:solidFill>
                <a:latin typeface="Trebuchet MS" pitchFamily="34" charset="0"/>
                <a:ea typeface="+mn-ea"/>
                <a:cs typeface="+mn-cs"/>
              </a:rPr>
              <a:t>Marsland</a:t>
            </a:r>
            <a:r>
              <a:rPr lang="de-DE" sz="1148" b="0" i="0" u="none" strike="noStrike" kern="1200" baseline="0">
                <a:solidFill>
                  <a:schemeClr val="tx1"/>
                </a:solidFill>
                <a:latin typeface="Trebuchet MS" pitchFamily="34" charset="0"/>
                <a:ea typeface="+mn-ea"/>
                <a:cs typeface="+mn-cs"/>
              </a:rPr>
              <a:t> 2014; Murphy 2012; Russel und </a:t>
            </a:r>
            <a:r>
              <a:rPr lang="de-DE" sz="1148" b="0" i="0" u="none" strike="noStrike" kern="1200" baseline="0" err="1">
                <a:solidFill>
                  <a:schemeClr val="tx1"/>
                </a:solidFill>
                <a:latin typeface="Trebuchet MS" pitchFamily="34" charset="0"/>
                <a:ea typeface="+mn-ea"/>
                <a:cs typeface="+mn-cs"/>
              </a:rPr>
              <a:t>Norvig</a:t>
            </a:r>
            <a:r>
              <a:rPr lang="de-DE" sz="1148" b="0" i="0" u="none" strike="noStrike" kern="1200" baseline="0">
                <a:solidFill>
                  <a:schemeClr val="tx1"/>
                </a:solidFill>
                <a:latin typeface="Trebuchet MS" pitchFamily="34" charset="0"/>
                <a:ea typeface="+mn-ea"/>
                <a:cs typeface="+mn-cs"/>
              </a:rPr>
              <a:t> 2010):</a:t>
            </a:r>
          </a:p>
          <a:p>
            <a:pPr rtl="0"/>
            <a:r>
              <a:rPr lang="de-DE" sz="1148" b="0" i="0" u="none" strike="noStrike" kern="1200" baseline="0">
                <a:solidFill>
                  <a:schemeClr val="tx1"/>
                </a:solidFill>
                <a:latin typeface="Trebuchet MS" pitchFamily="34" charset="0"/>
                <a:ea typeface="+mn-ea"/>
                <a:cs typeface="+mn-cs"/>
              </a:rPr>
              <a:t>• </a:t>
            </a:r>
            <a:r>
              <a:rPr lang="de-DE" sz="1148" b="0" i="0" u="none" strike="noStrike" kern="1200" baseline="0" err="1">
                <a:solidFill>
                  <a:schemeClr val="tx1"/>
                </a:solidFill>
                <a:latin typeface="Trebuchet MS" pitchFamily="34" charset="0"/>
                <a:ea typeface="+mn-ea"/>
                <a:cs typeface="+mn-cs"/>
              </a:rPr>
              <a:t>Supervised</a:t>
            </a:r>
            <a:r>
              <a:rPr lang="de-DE" sz="1148" b="0" i="0" u="none" strike="noStrike" kern="1200" baseline="0">
                <a:solidFill>
                  <a:schemeClr val="tx1"/>
                </a:solidFill>
                <a:latin typeface="Trebuchet MS" pitchFamily="34" charset="0"/>
                <a:ea typeface="+mn-ea"/>
                <a:cs typeface="+mn-cs"/>
              </a:rPr>
              <a:t> Learning (überwachtes Lernen)</a:t>
            </a:r>
          </a:p>
          <a:p>
            <a:pPr rtl="0"/>
            <a:r>
              <a:rPr lang="de-DE" sz="1148" b="0" i="0" u="none" strike="noStrike" kern="1200" baseline="0">
                <a:solidFill>
                  <a:schemeClr val="tx1"/>
                </a:solidFill>
                <a:latin typeface="Trebuchet MS" pitchFamily="34" charset="0"/>
                <a:ea typeface="+mn-ea"/>
                <a:cs typeface="+mn-cs"/>
              </a:rPr>
              <a:t>• </a:t>
            </a:r>
            <a:r>
              <a:rPr lang="de-DE" sz="1148" b="0" i="0" u="none" strike="noStrike" kern="1200" baseline="0" err="1">
                <a:solidFill>
                  <a:schemeClr val="tx1"/>
                </a:solidFill>
                <a:latin typeface="Trebuchet MS" pitchFamily="34" charset="0"/>
                <a:ea typeface="+mn-ea"/>
                <a:cs typeface="+mn-cs"/>
              </a:rPr>
              <a:t>Unsupervised</a:t>
            </a:r>
            <a:r>
              <a:rPr lang="de-DE" sz="1148" b="0" i="0" u="none" strike="noStrike" kern="1200" baseline="0">
                <a:solidFill>
                  <a:schemeClr val="tx1"/>
                </a:solidFill>
                <a:latin typeface="Trebuchet MS" pitchFamily="34" charset="0"/>
                <a:ea typeface="+mn-ea"/>
                <a:cs typeface="+mn-cs"/>
              </a:rPr>
              <a:t> Learning (unüberwachtes Lernen) </a:t>
            </a:r>
          </a:p>
          <a:p>
            <a:pPr rtl="0"/>
            <a:r>
              <a:rPr lang="de-DE" sz="1148" b="0" i="0" u="none" strike="noStrike" kern="1200" baseline="0">
                <a:solidFill>
                  <a:schemeClr val="tx1"/>
                </a:solidFill>
                <a:latin typeface="Trebuchet MS" pitchFamily="34" charset="0"/>
                <a:ea typeface="+mn-ea"/>
                <a:cs typeface="+mn-cs"/>
              </a:rPr>
              <a:t>• Reinforcement Learning (verstärkendes Lernen)</a:t>
            </a:r>
          </a:p>
          <a:p>
            <a:pPr rtl="0"/>
            <a:endParaRPr lang="de-DE" sz="1148" b="0" i="0" u="none" strike="noStrike" kern="1200" baseline="0">
              <a:solidFill>
                <a:schemeClr val="tx1"/>
              </a:solidFill>
              <a:latin typeface="Trebuchet MS" pitchFamily="34"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148" b="0" i="0" u="none" strike="noStrike" kern="1200" baseline="0">
                <a:solidFill>
                  <a:schemeClr val="tx1"/>
                </a:solidFill>
                <a:latin typeface="Trebuchet MS" pitchFamily="34" charset="0"/>
                <a:ea typeface="+mn-ea"/>
                <a:cs typeface="+mn-cs"/>
              </a:rPr>
              <a:t>In die erstgenannte Kategorie (</a:t>
            </a:r>
            <a:r>
              <a:rPr lang="de-DE" sz="1148" b="1" i="0" u="none" strike="noStrike" kern="1200" baseline="0" err="1">
                <a:solidFill>
                  <a:schemeClr val="tx1"/>
                </a:solidFill>
                <a:latin typeface="Trebuchet MS" pitchFamily="34" charset="0"/>
                <a:ea typeface="+mn-ea"/>
                <a:cs typeface="+mn-cs"/>
              </a:rPr>
              <a:t>Supervised</a:t>
            </a:r>
            <a:r>
              <a:rPr lang="de-DE" sz="1148" b="1" i="0" u="none" strike="noStrike" kern="1200" baseline="0">
                <a:solidFill>
                  <a:schemeClr val="tx1"/>
                </a:solidFill>
                <a:latin typeface="Trebuchet MS" pitchFamily="34" charset="0"/>
                <a:ea typeface="+mn-ea"/>
                <a:cs typeface="+mn-cs"/>
              </a:rPr>
              <a:t> Learning</a:t>
            </a:r>
            <a:r>
              <a:rPr lang="de-DE" sz="1148" b="0" i="0" u="none" strike="noStrike" kern="1200" baseline="0">
                <a:solidFill>
                  <a:schemeClr val="tx1"/>
                </a:solidFill>
                <a:latin typeface="Trebuchet MS" pitchFamily="34" charset="0"/>
                <a:ea typeface="+mn-ea"/>
                <a:cs typeface="+mn-cs"/>
              </a:rPr>
              <a:t>) fallen Algorithmen, die mit vielen „beschrifteten“ Daten trainiert werden, um dann selbstständig Entscheidungen treffen zu können. Beispielsweise </a:t>
            </a:r>
            <a:r>
              <a:rPr lang="de-DE" sz="1148" b="0" i="0" u="none" strike="noStrike" kern="1200" baseline="0" err="1">
                <a:solidFill>
                  <a:schemeClr val="tx1"/>
                </a:solidFill>
                <a:latin typeface="Trebuchet MS" pitchFamily="34" charset="0"/>
                <a:ea typeface="+mn-ea"/>
                <a:cs typeface="+mn-cs"/>
              </a:rPr>
              <a:t>ernen</a:t>
            </a:r>
            <a:r>
              <a:rPr lang="de-DE" sz="1148" b="0" i="0" u="none" strike="noStrike" kern="1200" baseline="0">
                <a:solidFill>
                  <a:schemeClr val="tx1"/>
                </a:solidFill>
                <a:latin typeface="Trebuchet MS" pitchFamily="34" charset="0"/>
                <a:ea typeface="+mn-ea"/>
                <a:cs typeface="+mn-cs"/>
              </a:rPr>
              <a:t> wir einen Algorithmus mit jeweils mehreren tausend Katzen- und Hundebildern an. Beschriftet bedeutet, dass wir dem Algorithmus jedes Mal die Information geben, um welche Tierart es sich handelt. </a:t>
            </a:r>
            <a:r>
              <a:rPr lang="de-DE" sz="1148" b="0" i="1" u="none" strike="noStrike" kern="1200" baseline="0" err="1">
                <a:solidFill>
                  <a:schemeClr val="tx1"/>
                </a:solidFill>
                <a:latin typeface="Trebuchet MS" pitchFamily="34" charset="0"/>
                <a:ea typeface="+mn-ea"/>
                <a:cs typeface="+mn-cs"/>
              </a:rPr>
              <a:t>Supervised</a:t>
            </a:r>
            <a:r>
              <a:rPr lang="de-DE" sz="1148" b="0" i="1" u="none" strike="noStrike" kern="1200" baseline="0">
                <a:solidFill>
                  <a:schemeClr val="tx1"/>
                </a:solidFill>
                <a:latin typeface="Trebuchet MS" pitchFamily="34" charset="0"/>
                <a:ea typeface="+mn-ea"/>
                <a:cs typeface="+mn-cs"/>
              </a:rPr>
              <a:t>-Learning-Algorithmen </a:t>
            </a:r>
            <a:r>
              <a:rPr lang="de-DE" sz="1148" b="0" i="0" u="none" strike="noStrike" kern="1200" baseline="0">
                <a:solidFill>
                  <a:schemeClr val="tx1"/>
                </a:solidFill>
                <a:latin typeface="Trebuchet MS" pitchFamily="34" charset="0"/>
                <a:ea typeface="+mn-ea"/>
                <a:cs typeface="+mn-cs"/>
              </a:rPr>
              <a:t>lernen auf diese Weise ähnlich wie Menschen. Nach dem Training erfolgt eine Überprüfung mit einem Testdatensatz, um auf dieser Basis Aussagen über die Güte des trainierten Modells zu machen. Der eigentliche Lernprozess basiert also auf dem Trainingsdatensatz, während die Evaluierung des trainierten Modells mit den Testdaten erfolgt (</a:t>
            </a:r>
            <a:r>
              <a:rPr lang="de-DE" sz="1148" b="0" i="0" u="none" strike="noStrike" kern="1200" baseline="0" err="1">
                <a:solidFill>
                  <a:schemeClr val="tx1"/>
                </a:solidFill>
                <a:latin typeface="Trebuchet MS" pitchFamily="34" charset="0"/>
                <a:ea typeface="+mn-ea"/>
                <a:cs typeface="+mn-cs"/>
              </a:rPr>
              <a:t>Marsland</a:t>
            </a:r>
            <a:r>
              <a:rPr lang="de-DE" sz="1148" b="0" i="0" u="none" strike="noStrike" kern="1200" baseline="0">
                <a:solidFill>
                  <a:schemeClr val="tx1"/>
                </a:solidFill>
                <a:latin typeface="Trebuchet MS" pitchFamily="34" charset="0"/>
                <a:ea typeface="+mn-ea"/>
                <a:cs typeface="+mn-cs"/>
              </a:rPr>
              <a:t> 2014; Murphy 2012; Russel und </a:t>
            </a:r>
            <a:r>
              <a:rPr lang="de-DE" sz="1148" b="0" i="0" u="none" strike="noStrike" kern="1200" baseline="0" err="1">
                <a:solidFill>
                  <a:schemeClr val="tx1"/>
                </a:solidFill>
                <a:latin typeface="Trebuchet MS" pitchFamily="34" charset="0"/>
                <a:ea typeface="+mn-ea"/>
                <a:cs typeface="+mn-cs"/>
              </a:rPr>
              <a:t>Norvig</a:t>
            </a:r>
            <a:r>
              <a:rPr lang="de-DE" sz="1148" b="0" i="0" u="none" strike="noStrike" kern="1200" baseline="0">
                <a:solidFill>
                  <a:schemeClr val="tx1"/>
                </a:solidFill>
                <a:latin typeface="Trebuchet MS" pitchFamily="34" charset="0"/>
                <a:ea typeface="+mn-ea"/>
                <a:cs typeface="+mn-cs"/>
              </a:rPr>
              <a:t> 2010).</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148" b="0" i="0" u="none" strike="noStrike" kern="1200" baseline="0">
              <a:solidFill>
                <a:schemeClr val="tx1"/>
              </a:solidFill>
              <a:latin typeface="Trebuchet MS" pitchFamily="34"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148" b="0" i="0" u="none" strike="noStrike" kern="1200" baseline="0">
                <a:solidFill>
                  <a:schemeClr val="tx1"/>
                </a:solidFill>
                <a:latin typeface="Trebuchet MS" pitchFamily="34" charset="0"/>
                <a:ea typeface="+mn-ea"/>
                <a:cs typeface="+mn-cs"/>
              </a:rPr>
              <a:t>Im Gegensatz dazu versuchen Ansätze des </a:t>
            </a:r>
            <a:r>
              <a:rPr lang="de-DE" sz="1148" b="1" i="1" u="none" strike="noStrike" kern="1200" baseline="0" err="1">
                <a:solidFill>
                  <a:schemeClr val="tx1"/>
                </a:solidFill>
                <a:latin typeface="Trebuchet MS" pitchFamily="34" charset="0"/>
                <a:ea typeface="+mn-ea"/>
                <a:cs typeface="+mn-cs"/>
              </a:rPr>
              <a:t>Unsupervised</a:t>
            </a:r>
            <a:r>
              <a:rPr lang="de-DE" sz="1148" b="1" i="1" u="none" strike="noStrike" kern="1200" baseline="0">
                <a:solidFill>
                  <a:schemeClr val="tx1"/>
                </a:solidFill>
                <a:latin typeface="Trebuchet MS" pitchFamily="34" charset="0"/>
                <a:ea typeface="+mn-ea"/>
                <a:cs typeface="+mn-cs"/>
              </a:rPr>
              <a:t> Learning, </a:t>
            </a:r>
            <a:r>
              <a:rPr lang="de-DE" sz="1148" b="0" i="0" u="none" strike="noStrike" kern="1200" baseline="0">
                <a:solidFill>
                  <a:schemeClr val="tx1"/>
                </a:solidFill>
                <a:latin typeface="Trebuchet MS" pitchFamily="34" charset="0"/>
                <a:ea typeface="+mn-ea"/>
                <a:cs typeface="+mn-cs"/>
              </a:rPr>
              <a:t>Muster in bestehenden Daten zu finden. Nehmen wir beispielsweise wieder eine Menge an Tierbildern. Nun sagen wir der Maschine aber nicht, bei welchem Bild es sich um welches Tier handelt, sondern der Algorithmus muss selbst Kategorien finden. Ein potenzielles Problem, aber ebenso eine Chance in der Anwendung besteht darin, dass der Algorithmus die Kategorisierung selbstständig vornimmt. Die Tierfotos müssten nicht unbedingt nach Tierarten (Hund oder Katze) kategorisiert werden, sondern es könnten alternativ je nach Datenlage auch Cluster nach Farben (schwarze, braune oder weiße Tiere) herauskommen. Ein weiteres häufiges Anwendungsgebiet des unüberwachten Lernens sind Komprimierverfahren, um die unwichtigsten Komponenten der Daten herauszufiltern und auf diese Weise eine Verkleinerung der Dateien zu erreichen (Saul und </a:t>
            </a:r>
            <a:r>
              <a:rPr lang="de-DE" sz="1148" b="0" i="0" u="none" strike="noStrike" kern="1200" baseline="0" err="1">
                <a:solidFill>
                  <a:schemeClr val="tx1"/>
                </a:solidFill>
                <a:latin typeface="Trebuchet MS" pitchFamily="34" charset="0"/>
                <a:ea typeface="+mn-ea"/>
                <a:cs typeface="+mn-cs"/>
              </a:rPr>
              <a:t>Roweis</a:t>
            </a:r>
            <a:r>
              <a:rPr lang="de-DE" sz="1148" b="0" i="0" u="none" strike="noStrike" kern="1200" baseline="0">
                <a:solidFill>
                  <a:schemeClr val="tx1"/>
                </a:solidFill>
                <a:latin typeface="Trebuchet MS" pitchFamily="34" charset="0"/>
                <a:ea typeface="+mn-ea"/>
                <a:cs typeface="+mn-cs"/>
              </a:rPr>
              <a:t> 2003).</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148" b="0" i="0" u="none" strike="noStrike" kern="1200" baseline="0">
              <a:solidFill>
                <a:schemeClr val="tx1"/>
              </a:solidFill>
              <a:latin typeface="Trebuchet MS" pitchFamily="34"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148" b="0" i="0" u="none" strike="noStrike" kern="1200" baseline="0">
                <a:solidFill>
                  <a:schemeClr val="tx1"/>
                </a:solidFill>
                <a:latin typeface="Trebuchet MS" pitchFamily="34" charset="0"/>
                <a:ea typeface="+mn-ea"/>
                <a:cs typeface="+mn-cs"/>
              </a:rPr>
              <a:t>Das dritte Verfahren des </a:t>
            </a:r>
            <a:r>
              <a:rPr lang="de-DE" sz="1148" b="0" i="0" u="none" strike="noStrike" kern="1200" baseline="0" err="1">
                <a:solidFill>
                  <a:schemeClr val="tx1"/>
                </a:solidFill>
                <a:latin typeface="Trebuchet MS" pitchFamily="34" charset="0"/>
                <a:ea typeface="+mn-ea"/>
                <a:cs typeface="+mn-cs"/>
              </a:rPr>
              <a:t>Machine</a:t>
            </a:r>
            <a:r>
              <a:rPr lang="de-DE" sz="1148" b="0" i="0" u="none" strike="noStrike" kern="1200" baseline="0">
                <a:solidFill>
                  <a:schemeClr val="tx1"/>
                </a:solidFill>
                <a:latin typeface="Trebuchet MS" pitchFamily="34" charset="0"/>
                <a:ea typeface="+mn-ea"/>
                <a:cs typeface="+mn-cs"/>
              </a:rPr>
              <a:t> Learning ist das sogenannte </a:t>
            </a:r>
            <a:r>
              <a:rPr lang="de-DE" sz="1148" b="0" i="1" u="none" strike="noStrike" kern="1200" baseline="0">
                <a:solidFill>
                  <a:schemeClr val="tx1"/>
                </a:solidFill>
                <a:latin typeface="Trebuchet MS" pitchFamily="34" charset="0"/>
                <a:ea typeface="+mn-ea"/>
                <a:cs typeface="+mn-cs"/>
              </a:rPr>
              <a:t>Reinforcement Learning. </a:t>
            </a:r>
            <a:r>
              <a:rPr lang="de-DE" sz="1148" b="0" i="0" u="none" strike="noStrike" kern="1200" baseline="0">
                <a:solidFill>
                  <a:schemeClr val="tx1"/>
                </a:solidFill>
                <a:latin typeface="Trebuchet MS" pitchFamily="34" charset="0"/>
                <a:ea typeface="+mn-ea"/>
                <a:cs typeface="+mn-cs"/>
              </a:rPr>
              <a:t>In dieser Variante des Lernens soll für ein gegebenes Problem eine opti-</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148" b="0" i="0" u="none" strike="noStrike" kern="1200" baseline="0">
                <a:solidFill>
                  <a:schemeClr val="tx1"/>
                </a:solidFill>
                <a:latin typeface="Trebuchet MS" pitchFamily="34" charset="0"/>
                <a:ea typeface="+mn-ea"/>
                <a:cs typeface="+mn-cs"/>
              </a:rPr>
              <a:t>male Strategie erlernt werden. Grundlage ist eine zu maximierende Anreiz- oder Belohnungsfunktion. Dem Algorithmus wird nicht gezeigt, welche Aktion in welcher Situation die beste ist. Vielmehr erhält er zu bestimmten Zeitpunkten auf Basis der Anreizfunktion eine Rückmeldung auf die gewählte Aktion – entweder eine Belohnung oder eine Strafe. Der Entwickler spezifiziert bei diesem Ansatz den aktuellen Zustand der Umgebung (z. B. die Stellung in einem Schachspiel) und listet die möglichen Handlungsalternativen und Umweltbedingungen auf (z. B. die möglichen Schachzüge auf Basis der Spielregeln). Der Algorithmus muss nun die Züge finden, die seine Anreizfunktion maximieren. Im Fall des Schachspiels wäre eine Anreizfunktion so zu spezifizieren, dass die Zielsetzung darin besteht, das Spiel zu gewinnen. Ein anderes Anwendungsbeispiel stammt von Microsoft: Hier wird Reinforcement Learning genutzt, um Überschriften für Kurzartikel der Webseite msn.com auszuwählen. Die Anreizfunktion bewertet die Zahl der Klicks auf einen Artikel und belohnt hohe Werte (</a:t>
            </a:r>
            <a:r>
              <a:rPr lang="de-DE" sz="1148" b="0" i="0" u="none" strike="noStrike" kern="1200" baseline="0" err="1">
                <a:solidFill>
                  <a:schemeClr val="tx1"/>
                </a:solidFill>
                <a:latin typeface="Trebuchet MS" pitchFamily="34" charset="0"/>
                <a:ea typeface="+mn-ea"/>
                <a:cs typeface="+mn-cs"/>
              </a:rPr>
              <a:t>Brynjolfsson</a:t>
            </a:r>
            <a:r>
              <a:rPr lang="de-DE" sz="1148" b="0" i="0" u="none" strike="noStrike" kern="1200" baseline="0">
                <a:solidFill>
                  <a:schemeClr val="tx1"/>
                </a:solidFill>
                <a:latin typeface="Trebuchet MS" pitchFamily="34" charset="0"/>
                <a:ea typeface="+mn-ea"/>
                <a:cs typeface="+mn-cs"/>
              </a:rPr>
              <a:t> und McAfee 2017). Es handelt sich dabei also um ein klassisches „Click-</a:t>
            </a:r>
            <a:r>
              <a:rPr lang="de-DE" sz="1148" b="0" i="0" u="none" strike="noStrike" kern="1200" baseline="0" err="1">
                <a:solidFill>
                  <a:schemeClr val="tx1"/>
                </a:solidFill>
                <a:latin typeface="Trebuchet MS" pitchFamily="34" charset="0"/>
                <a:ea typeface="+mn-ea"/>
                <a:cs typeface="+mn-cs"/>
              </a:rPr>
              <a:t>Baiting</a:t>
            </a:r>
            <a:r>
              <a:rPr lang="de-DE" sz="1148" b="0" i="0" u="none" strike="noStrike" kern="1200" baseline="0">
                <a:solidFill>
                  <a:schemeClr val="tx1"/>
                </a:solidFill>
                <a:latin typeface="Trebuchet MS" pitchFamily="34" charset="0"/>
                <a:ea typeface="+mn-ea"/>
                <a:cs typeface="+mn-cs"/>
              </a:rPr>
              <a:t>-System“.“</a:t>
            </a:r>
          </a:p>
          <a:p>
            <a:pPr marL="0" indent="0">
              <a:buFont typeface="Wingdings" panose="05000000000000000000" pitchFamily="2" charset="2"/>
              <a:buNone/>
            </a:pPr>
            <a:endParaRPr lang="de-DE" b="0" baseline="0"/>
          </a:p>
          <a:p>
            <a:pPr marL="0" indent="0">
              <a:buFont typeface="Wingdings" panose="05000000000000000000" pitchFamily="2" charset="2"/>
              <a:buNone/>
            </a:pPr>
            <a:endParaRPr lang="de-DE" b="1"/>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DE" b="1"/>
              <a:t>Anwendungen des Maschinellen Lernens in der Praxis</a:t>
            </a:r>
            <a:r>
              <a:rPr lang="de-DE"/>
              <a:t>: "Maschinelles Lernen hat ein breites Anwendungsspektrum, wie Bilderkennung, Verarbeitung natürlicher Sprache, Empfehlungssysteme und selbstfahrende Autos.„</a:t>
            </a:r>
          </a:p>
          <a:p>
            <a:pPr marL="0" indent="0">
              <a:buFont typeface="Wingdings" panose="05000000000000000000" pitchFamily="2" charset="2"/>
              <a:buNone/>
            </a:pPr>
            <a:endParaRPr lang="de-DE" b="1"/>
          </a:p>
          <a:p>
            <a:pPr marL="0" indent="0">
              <a:buFont typeface="Wingdings" panose="05000000000000000000" pitchFamily="2" charset="2"/>
              <a:buNone/>
            </a:pPr>
            <a:endParaRPr lang="de-DE" b="1"/>
          </a:p>
          <a:p>
            <a:r>
              <a:rPr lang="de-DE" b="1" err="1"/>
              <a:t>Supervised</a:t>
            </a:r>
            <a:r>
              <a:rPr lang="de-DE" b="1"/>
              <a:t> Learning</a:t>
            </a:r>
          </a:p>
          <a:p>
            <a:pPr marL="171450" indent="-171450">
              <a:buFont typeface="Arial" panose="020B0604020202020204" pitchFamily="34" charset="0"/>
              <a:buChar char="•"/>
            </a:pPr>
            <a:r>
              <a:rPr lang="de-DE" b="1"/>
              <a:t>Classification</a:t>
            </a:r>
          </a:p>
          <a:p>
            <a:pPr marL="608716" lvl="1" indent="-171450">
              <a:buFont typeface="Arial" panose="020B0604020202020204" pitchFamily="34" charset="0"/>
              <a:buChar char="•"/>
            </a:pPr>
            <a:r>
              <a:rPr lang="de-DE" b="0"/>
              <a:t>Fraud</a:t>
            </a:r>
            <a:r>
              <a:rPr lang="de-DE" b="0" baseline="0"/>
              <a:t> </a:t>
            </a:r>
            <a:r>
              <a:rPr lang="de-DE" b="0" baseline="0" err="1"/>
              <a:t>Detection</a:t>
            </a:r>
            <a:endParaRPr lang="de-DE" b="0" baseline="0"/>
          </a:p>
          <a:p>
            <a:pPr marL="608716" lvl="1" indent="-171450">
              <a:buFont typeface="Arial" panose="020B0604020202020204" pitchFamily="34" charset="0"/>
              <a:buChar char="•"/>
            </a:pPr>
            <a:r>
              <a:rPr lang="de-DE" b="0" baseline="0" err="1"/>
              <a:t>Immage</a:t>
            </a:r>
            <a:r>
              <a:rPr lang="de-DE" b="0" baseline="0"/>
              <a:t> Classification</a:t>
            </a:r>
          </a:p>
          <a:p>
            <a:pPr marL="608716" lvl="1" indent="-171450">
              <a:buFont typeface="Arial" panose="020B0604020202020204" pitchFamily="34" charset="0"/>
              <a:buChar char="•"/>
            </a:pPr>
            <a:r>
              <a:rPr lang="de-DE" b="0" baseline="0"/>
              <a:t>Customer Retention</a:t>
            </a:r>
          </a:p>
          <a:p>
            <a:pPr marL="608716" lvl="1" indent="-171450">
              <a:buFont typeface="Arial" panose="020B0604020202020204" pitchFamily="34" charset="0"/>
              <a:buChar char="•"/>
            </a:pPr>
            <a:r>
              <a:rPr lang="de-DE" b="0" baseline="0" err="1"/>
              <a:t>Diagnostics</a:t>
            </a:r>
            <a:endParaRPr lang="de-DE" b="0" baseline="0"/>
          </a:p>
          <a:p>
            <a:pPr marL="171450" lvl="0" indent="-171450">
              <a:buFont typeface="Arial" panose="020B0604020202020204" pitchFamily="34" charset="0"/>
              <a:buChar char="•"/>
            </a:pPr>
            <a:r>
              <a:rPr lang="de-DE" b="1" baseline="0"/>
              <a:t>Regression</a:t>
            </a:r>
          </a:p>
          <a:p>
            <a:pPr marL="608716" lvl="1" indent="-171450">
              <a:buFont typeface="Arial" panose="020B0604020202020204" pitchFamily="34" charset="0"/>
              <a:buChar char="•"/>
            </a:pPr>
            <a:r>
              <a:rPr lang="de-DE" b="0" baseline="0" err="1"/>
              <a:t>Forecasting</a:t>
            </a:r>
            <a:endParaRPr lang="de-DE" b="0" baseline="0"/>
          </a:p>
          <a:p>
            <a:pPr marL="608716" lvl="1" indent="-171450">
              <a:buFont typeface="Arial" panose="020B0604020202020204" pitchFamily="34" charset="0"/>
              <a:buChar char="•"/>
            </a:pPr>
            <a:r>
              <a:rPr lang="de-DE" b="0" baseline="0" err="1"/>
              <a:t>Predictions</a:t>
            </a:r>
            <a:endParaRPr lang="de-DE" b="0" baseline="0"/>
          </a:p>
          <a:p>
            <a:pPr marL="608716" lvl="1" indent="-171450">
              <a:buFont typeface="Arial" panose="020B0604020202020204" pitchFamily="34" charset="0"/>
              <a:buChar char="•"/>
            </a:pPr>
            <a:r>
              <a:rPr lang="de-DE" b="0" baseline="0" err="1"/>
              <a:t>Process</a:t>
            </a:r>
            <a:r>
              <a:rPr lang="de-DE" b="0" baseline="0"/>
              <a:t> </a:t>
            </a:r>
            <a:r>
              <a:rPr lang="de-DE" b="0" baseline="0" err="1"/>
              <a:t>Optimization</a:t>
            </a:r>
            <a:endParaRPr lang="de-DE" b="0" baseline="0"/>
          </a:p>
          <a:p>
            <a:pPr marL="608716" lvl="1" indent="-171450">
              <a:buFont typeface="Arial" panose="020B0604020202020204" pitchFamily="34" charset="0"/>
              <a:buChar char="•"/>
            </a:pPr>
            <a:r>
              <a:rPr lang="de-DE" b="0" baseline="0"/>
              <a:t>New </a:t>
            </a:r>
            <a:r>
              <a:rPr lang="de-DE" b="0" baseline="0" err="1"/>
              <a:t>Insights</a:t>
            </a:r>
            <a:endParaRPr lang="de-DE" b="0" baseline="0"/>
          </a:p>
          <a:p>
            <a:pPr marL="0" lvl="0" indent="0">
              <a:buFont typeface="Arial" panose="020B0604020202020204" pitchFamily="34" charset="0"/>
              <a:buNone/>
            </a:pPr>
            <a:endParaRPr lang="de-DE" b="1"/>
          </a:p>
          <a:p>
            <a:r>
              <a:rPr lang="de-DE" b="1" err="1"/>
              <a:t>Unsupervised</a:t>
            </a:r>
            <a:r>
              <a:rPr lang="de-DE" b="1"/>
              <a:t> Learning</a:t>
            </a:r>
          </a:p>
          <a:p>
            <a:pPr marL="171450" indent="-171450">
              <a:buFont typeface="Arial" panose="020B0604020202020204" pitchFamily="34" charset="0"/>
              <a:buChar char="•"/>
            </a:pPr>
            <a:r>
              <a:rPr lang="de-DE" b="1"/>
              <a:t>Clustering</a:t>
            </a:r>
          </a:p>
          <a:p>
            <a:pPr marL="608716" lvl="1" indent="-171450">
              <a:buFont typeface="Arial" panose="020B0604020202020204" pitchFamily="34" charset="0"/>
              <a:buChar char="•"/>
            </a:pPr>
            <a:r>
              <a:rPr lang="de-DE" b="0"/>
              <a:t>Recommended Systems</a:t>
            </a:r>
          </a:p>
          <a:p>
            <a:pPr marL="608716" lvl="1" indent="-171450">
              <a:buFont typeface="Arial" panose="020B0604020202020204" pitchFamily="34" charset="0"/>
              <a:buChar char="•"/>
            </a:pPr>
            <a:r>
              <a:rPr lang="de-DE" b="0" baseline="0" err="1"/>
              <a:t>Targetted</a:t>
            </a:r>
            <a:r>
              <a:rPr lang="de-DE" b="0" baseline="0"/>
              <a:t> Marketing</a:t>
            </a:r>
          </a:p>
          <a:p>
            <a:pPr marL="608716" lvl="1" indent="-171450">
              <a:buFont typeface="Arial" panose="020B0604020202020204" pitchFamily="34" charset="0"/>
              <a:buChar char="•"/>
            </a:pPr>
            <a:r>
              <a:rPr lang="de-DE" b="0" baseline="0"/>
              <a:t>Customer Segmentation</a:t>
            </a:r>
          </a:p>
          <a:p>
            <a:pPr marL="171450" lvl="0" indent="-171450">
              <a:buFont typeface="Arial" panose="020B0604020202020204" pitchFamily="34" charset="0"/>
              <a:buChar char="•"/>
            </a:pPr>
            <a:r>
              <a:rPr lang="de-DE" b="1" baseline="0" err="1"/>
              <a:t>Dimensionality</a:t>
            </a:r>
            <a:r>
              <a:rPr lang="de-DE" b="1" baseline="0"/>
              <a:t> </a:t>
            </a:r>
            <a:r>
              <a:rPr lang="de-DE" b="1" baseline="0" err="1"/>
              <a:t>Reduction</a:t>
            </a:r>
            <a:endParaRPr lang="de-DE" b="1" baseline="0"/>
          </a:p>
          <a:p>
            <a:pPr marL="608716" lvl="1" indent="-171450">
              <a:buFont typeface="Arial" panose="020B0604020202020204" pitchFamily="34" charset="0"/>
              <a:buChar char="•"/>
            </a:pPr>
            <a:r>
              <a:rPr lang="de-DE" b="0" baseline="0"/>
              <a:t>Big Data </a:t>
            </a:r>
            <a:r>
              <a:rPr lang="de-DE" b="0" baseline="0" err="1"/>
              <a:t>Visualization</a:t>
            </a:r>
            <a:endParaRPr lang="de-DE" b="0" baseline="0"/>
          </a:p>
          <a:p>
            <a:pPr marL="608716" lvl="1" indent="-171450">
              <a:buFont typeface="Arial" panose="020B0604020202020204" pitchFamily="34" charset="0"/>
              <a:buChar char="•"/>
            </a:pPr>
            <a:r>
              <a:rPr lang="de-DE" b="0" baseline="0" err="1"/>
              <a:t>Meaningful</a:t>
            </a:r>
            <a:r>
              <a:rPr lang="de-DE" b="0" baseline="0"/>
              <a:t> </a:t>
            </a:r>
            <a:r>
              <a:rPr lang="de-DE" b="0" baseline="0" err="1"/>
              <a:t>compression</a:t>
            </a:r>
            <a:endParaRPr lang="de-DE" b="0" baseline="0"/>
          </a:p>
          <a:p>
            <a:pPr marL="608716" lvl="1" indent="-171450">
              <a:buFont typeface="Arial" panose="020B0604020202020204" pitchFamily="34" charset="0"/>
              <a:buChar char="•"/>
            </a:pPr>
            <a:r>
              <a:rPr lang="de-DE" b="0" baseline="0" err="1"/>
              <a:t>Structure</a:t>
            </a:r>
            <a:r>
              <a:rPr lang="de-DE" b="0" baseline="0"/>
              <a:t> Discovery</a:t>
            </a:r>
          </a:p>
          <a:p>
            <a:pPr marL="608716" lvl="1" indent="-171450">
              <a:buFont typeface="Arial" panose="020B0604020202020204" pitchFamily="34" charset="0"/>
              <a:buChar char="•"/>
            </a:pPr>
            <a:r>
              <a:rPr lang="de-DE" b="0" baseline="0"/>
              <a:t>Feature </a:t>
            </a:r>
            <a:r>
              <a:rPr lang="de-DE" b="0" baseline="0" err="1"/>
              <a:t>Elicitation</a:t>
            </a:r>
            <a:endParaRPr lang="de-DE" b="0" baseline="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1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100" b="1"/>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1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baseline="0" err="1"/>
              <a:t>n.a.</a:t>
            </a:r>
            <a:endParaRPr lang="de-DE" sz="11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1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100" b="1"/>
              <a:t>######## Quellenhinweise</a:t>
            </a:r>
          </a:p>
          <a:p>
            <a:pPr marL="0" indent="0">
              <a:buFont typeface="Arial" panose="020B0604020202020204" pitchFamily="34" charset="0"/>
              <a:buNone/>
            </a:pPr>
            <a:endParaRPr lang="de-DE"/>
          </a:p>
          <a:p>
            <a:endParaRPr lang="de-DE"/>
          </a:p>
          <a:p>
            <a:endParaRPr lang="de-DE"/>
          </a:p>
          <a:p>
            <a:endParaRPr lang="de-DE"/>
          </a:p>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17003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indent="0">
              <a:buFont typeface="Arial" panose="020B0604020202020204" pitchFamily="34" charset="0"/>
              <a:buNone/>
            </a:pPr>
            <a:endParaRPr lang="de-DE" b="1"/>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8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800" baseline="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800" baseline="0" err="1"/>
              <a:t>n.a.</a:t>
            </a:r>
            <a:endParaRPr lang="de-DE" sz="8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8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8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8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800" baseline="0" err="1"/>
              <a:t>n.a.</a:t>
            </a:r>
            <a:endParaRPr lang="de-DE" sz="8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8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80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800"/>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100">
                <a:effectLst/>
                <a:latin typeface="Calibri" panose="020F0502020204030204" pitchFamily="34" charset="0"/>
                <a:ea typeface="Calibri" panose="020F0502020204030204" pitchFamily="34" charset="0"/>
                <a:cs typeface="Arial" panose="020B0604020202020204" pitchFamily="34" charset="0"/>
              </a:rPr>
              <a:t>Zeiss.com 2016. </a:t>
            </a:r>
            <a:r>
              <a:rPr lang="en-GB" sz="1100" i="1">
                <a:effectLst/>
                <a:latin typeface="Calibri" panose="020F0502020204030204" pitchFamily="34" charset="0"/>
                <a:ea typeface="Calibri" panose="020F0502020204030204" pitchFamily="34" charset="0"/>
                <a:cs typeface="Arial" panose="020B0604020202020204" pitchFamily="34" charset="0"/>
              </a:rPr>
              <a:t>machine-learning</a:t>
            </a:r>
            <a:r>
              <a:rPr lang="en-GB" sz="1100">
                <a:effectLst/>
                <a:latin typeface="Calibri" panose="020F0502020204030204" pitchFamily="34" charset="0"/>
                <a:ea typeface="Calibri" panose="020F0502020204030204" pitchFamily="34" charset="0"/>
                <a:cs typeface="Arial" panose="020B0604020202020204" pitchFamily="34" charset="0"/>
              </a:rPr>
              <a:t>. https://blogs.zeiss.com/digital/the-relation-between-computer-vision-and-machine-learning/machine-learning/</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8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800"/>
              <a:t>######## Feedback zur Überarbeitung</a:t>
            </a:r>
          </a:p>
          <a:p>
            <a:pPr marL="0" indent="0">
              <a:buFont typeface="Wingdings" panose="05000000000000000000" pitchFamily="2" charset="2"/>
              <a:buNone/>
            </a:pPr>
            <a:endParaRPr lang="en-US" sz="800" baseline="0"/>
          </a:p>
          <a:p>
            <a:pPr marL="0" indent="0">
              <a:buFont typeface="Wingdings" panose="05000000000000000000" pitchFamily="2" charset="2"/>
              <a:buNone/>
            </a:pPr>
            <a:r>
              <a:rPr lang="en-US" sz="800" baseline="0" err="1"/>
              <a:t>n.a.</a:t>
            </a:r>
            <a:endParaRPr lang="en-US" sz="800" baseline="0"/>
          </a:p>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60747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indent="0">
              <a:buFont typeface="Arial" panose="020B0604020202020204" pitchFamily="34" charset="0"/>
              <a:buNone/>
            </a:pPr>
            <a:endParaRPr lang="de-DE" b="1"/>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8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800" baseline="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800" baseline="0" err="1"/>
              <a:t>n.a.</a:t>
            </a:r>
            <a:endParaRPr lang="de-DE" sz="8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8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8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8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800" baseline="0" err="1"/>
              <a:t>n.a.</a:t>
            </a:r>
            <a:endParaRPr lang="de-DE" sz="8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8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80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800"/>
          </a:p>
          <a:p>
            <a:r>
              <a:rPr lang="de-DE" sz="800"/>
              <a:t>https://medium.com/@gowthamy/machine-learning-supervised-learning-vs-unsupervised-learning-f1658e12a780</a:t>
            </a:r>
          </a:p>
          <a:p>
            <a:r>
              <a:rPr lang="de-DE" sz="800"/>
              <a:t>https://unsplash.com/photos/aI3EBLvcyu</a:t>
            </a:r>
          </a:p>
          <a:p>
            <a:r>
              <a:rPr lang="de-DE" sz="800"/>
              <a:t>https://unsplash.com/photos/MardkT836BU</a:t>
            </a:r>
          </a:p>
          <a:p>
            <a:r>
              <a:rPr lang="de-DE" sz="800"/>
              <a:t>https://unsplash.com/photos/sf_1ZDA1YFw</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8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800"/>
              <a:t>######## Feedback zur Überarbeitung</a:t>
            </a:r>
          </a:p>
          <a:p>
            <a:pPr marL="0" indent="0">
              <a:buFont typeface="Wingdings" panose="05000000000000000000" pitchFamily="2" charset="2"/>
              <a:buNone/>
            </a:pPr>
            <a:endParaRPr lang="en-US" sz="800" baseline="0"/>
          </a:p>
          <a:p>
            <a:pPr marL="0" indent="0">
              <a:buFont typeface="Wingdings" panose="05000000000000000000" pitchFamily="2" charset="2"/>
              <a:buNone/>
            </a:pPr>
            <a:r>
              <a:rPr lang="en-US" sz="800" baseline="0" err="1"/>
              <a:t>n.a.</a:t>
            </a:r>
            <a:endParaRPr lang="en-US" sz="800" baseline="0"/>
          </a:p>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68130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err="1"/>
              <a:t>n.a.</a:t>
            </a: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err="1"/>
              <a:t>n.a.</a:t>
            </a: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Feedback zur Überarbeitung</a:t>
            </a:r>
          </a:p>
          <a:p>
            <a:pPr marL="0" indent="0">
              <a:buFont typeface="Wingdings" panose="05000000000000000000" pitchFamily="2" charset="2"/>
              <a:buNone/>
            </a:pPr>
            <a:endParaRPr lang="en-US" sz="1200" baseline="0"/>
          </a:p>
          <a:p>
            <a:pPr marL="0" indent="0">
              <a:buFont typeface="Wingdings" panose="05000000000000000000" pitchFamily="2" charset="2"/>
              <a:buNone/>
            </a:pPr>
            <a:r>
              <a:rPr lang="en-US" sz="1200" baseline="0" err="1"/>
              <a:t>n.a.</a:t>
            </a:r>
            <a:endParaRPr lang="en-US" sz="1200" baseline="0"/>
          </a:p>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18049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a:p>
          <a:p>
            <a:pPr marL="171450" indent="-171450" defTabSz="450850">
              <a:buFont typeface="Arial" panose="020B0604020202020204" pitchFamily="34" charset="0"/>
              <a:buChar char="•"/>
            </a:pPr>
            <a:r>
              <a:rPr lang="de-DE" sz="1200">
                <a:solidFill>
                  <a:schemeClr val="bg1"/>
                </a:solidFill>
                <a:latin typeface="Arial" panose="020B0604020202020204" pitchFamily="34" charset="0"/>
                <a:cs typeface="Arial" panose="020B0604020202020204" pitchFamily="34" charset="0"/>
              </a:rPr>
              <a:t>Bei modernen Language-Models handelt es sich um statistische Modelle, die natürliche Sprachen wie Deutsch oder Englisch modellieren. Grundsätzlich lassen sich diese Modelle in zwei Teile aufspalten: Architektur und Parameter. </a:t>
            </a:r>
          </a:p>
          <a:p>
            <a:pPr marL="171450" indent="-171450" defTabSz="450850">
              <a:buFont typeface="Arial" panose="020B0604020202020204" pitchFamily="34" charset="0"/>
              <a:buChar char="•"/>
            </a:pPr>
            <a:r>
              <a:rPr lang="de-DE" sz="1200">
                <a:solidFill>
                  <a:schemeClr val="bg1"/>
                </a:solidFill>
                <a:latin typeface="Arial" panose="020B0604020202020204" pitchFamily="34" charset="0"/>
                <a:cs typeface="Arial" panose="020B0604020202020204" pitchFamily="34" charset="0"/>
              </a:rPr>
              <a:t>Die Architektur eines Modells ist genau das: Ein hohles Gerüst, das genau definiert, wie das Modell aussieht und in welcher Reihenfolge welche Operationen ausgeführt werden sollen. </a:t>
            </a:r>
          </a:p>
          <a:p>
            <a:pPr marL="171450" indent="-171450" defTabSz="450850">
              <a:buFont typeface="Arial" panose="020B0604020202020204" pitchFamily="34" charset="0"/>
              <a:buChar char="•"/>
            </a:pPr>
            <a:r>
              <a:rPr lang="de-DE" sz="1200">
                <a:solidFill>
                  <a:schemeClr val="bg1"/>
                </a:solidFill>
                <a:latin typeface="Arial" panose="020B0604020202020204" pitchFamily="34" charset="0"/>
                <a:cs typeface="Arial" panose="020B0604020202020204" pitchFamily="34" charset="0"/>
              </a:rPr>
              <a:t>Die Parameter (auch Gewichte genannt) eines Modells enthalten das Wissen eines Modells. Sie bestimmen darüber, wie stark unterschiedliche Eingaben gewichtet werden sollen und wie sie interagieren. </a:t>
            </a:r>
          </a:p>
          <a:p>
            <a:pPr marL="171450" indent="-171450" defTabSz="450850">
              <a:buFont typeface="Arial" panose="020B0604020202020204" pitchFamily="34" charset="0"/>
              <a:buChar char="•"/>
            </a:pPr>
            <a:r>
              <a:rPr lang="de-DE" sz="1200">
                <a:solidFill>
                  <a:schemeClr val="bg1"/>
                </a:solidFill>
                <a:latin typeface="Arial" panose="020B0604020202020204" pitchFamily="34" charset="0"/>
                <a:cs typeface="Arial" panose="020B0604020202020204" pitchFamily="34" charset="0"/>
              </a:rPr>
              <a:t>Das Präfix „Large“ wird in der Literatur üblicherweise hinzugefügt, um darauf hinzudeuten, dass das Modell über eine große Anzahl an Parametern verfügt – diese machen die Modelle ausdrucksstärker. Das bedeutet, sie können prinzipiell leichter oder schneller komplexe sprachliche Beziehungen und Bedeutungen lern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err="1"/>
              <a:t>n.a.</a:t>
            </a: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solidFill>
                  <a:schemeClr val="bg1"/>
                </a:solidFill>
                <a:latin typeface="Arial" panose="020B0604020202020204" pitchFamily="34" charset="0"/>
                <a:cs typeface="Arial" panose="020B0604020202020204" pitchFamily="34" charset="0"/>
              </a:rPr>
              <a:t>https://www.computerbase.de/2023-03/kuenstliche-intelligenz-language-models-chatbots-grundlagen-erklaer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Feedback zur Überarbeitung</a:t>
            </a:r>
          </a:p>
          <a:p>
            <a:pPr marL="0" indent="0">
              <a:buFont typeface="Wingdings" panose="05000000000000000000" pitchFamily="2" charset="2"/>
              <a:buNone/>
            </a:pPr>
            <a:endParaRPr lang="en-US" sz="1200" baseline="0"/>
          </a:p>
          <a:p>
            <a:pPr marL="0" indent="0">
              <a:buFont typeface="Wingdings" panose="05000000000000000000" pitchFamily="2" charset="2"/>
              <a:buNone/>
            </a:pPr>
            <a:r>
              <a:rPr lang="en-US" sz="1200" baseline="0" err="1"/>
              <a:t>n.a.</a:t>
            </a:r>
            <a:endParaRPr lang="en-US" sz="1200" baseline="0"/>
          </a:p>
          <a:p>
            <a:pPr defTabSz="450850"/>
            <a:endParaRPr lang="de-DE" sz="1200">
              <a:solidFill>
                <a:schemeClr val="bg1"/>
              </a:solidFill>
              <a:latin typeface="Arial" panose="020B0604020202020204" pitchFamily="34" charset="0"/>
              <a:cs typeface="Arial" panose="020B0604020202020204" pitchFamily="34" charset="0"/>
            </a:endParaRPr>
          </a:p>
          <a:p>
            <a:pPr defTabSz="450850"/>
            <a:endParaRPr lang="de-DE" sz="1200">
              <a:solidFill>
                <a:schemeClr val="bg1"/>
              </a:solidFill>
              <a:latin typeface="Arial" panose="020B0604020202020204" pitchFamily="34" charset="0"/>
              <a:cs typeface="Arial" panose="020B0604020202020204" pitchFamily="34" charset="0"/>
            </a:endParaRPr>
          </a:p>
          <a:p>
            <a:pPr defTabSz="450850"/>
            <a:endParaRPr lang="de-DE" sz="1200">
              <a:solidFill>
                <a:schemeClr val="bg1"/>
              </a:solidFill>
              <a:latin typeface="Arial" panose="020B0604020202020204" pitchFamily="34" charset="0"/>
              <a:cs typeface="Arial" panose="020B0604020202020204" pitchFamily="34" charset="0"/>
            </a:endParaRPr>
          </a:p>
          <a:p>
            <a:pPr defTabSz="450850"/>
            <a:endParaRPr lang="de-DE" sz="1200">
              <a:solidFill>
                <a:schemeClr val="bg1"/>
              </a:solidFill>
              <a:latin typeface="Arial" panose="020B0604020202020204" pitchFamily="34" charset="0"/>
              <a:cs typeface="Arial" panose="020B0604020202020204" pitchFamily="34" charset="0"/>
            </a:endParaRPr>
          </a:p>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22919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a:p>
          <a:p>
            <a:pPr algn="l">
              <a:buFont typeface="+mj-lt"/>
              <a:buAutoNum type="arabicPeriod"/>
            </a:pPr>
            <a:r>
              <a:rPr lang="de-DE" b="1" i="0">
                <a:solidFill>
                  <a:srgbClr val="374151"/>
                </a:solidFill>
                <a:effectLst/>
                <a:latin typeface="Söhne"/>
              </a:rPr>
              <a:t>Datensammlung und Vorverarbeitung:</a:t>
            </a:r>
          </a:p>
          <a:p>
            <a:pPr algn="l"/>
            <a:r>
              <a:rPr lang="de-DE" b="0" i="0">
                <a:solidFill>
                  <a:srgbClr val="374151"/>
                </a:solidFill>
                <a:effectLst/>
                <a:latin typeface="Söhne"/>
              </a:rPr>
              <a:t>In diesem Schritt werden relevante Datenquellen identifiziert, gesammelt und kuratiert. Diese Daten können aus verschiedenen Quellen stammen, wie Büchern, Webseiten, Artikeln und offenen Datensätzen. Anschließend wird der gesammelte Datensatz vorverarbeitet, um ihn für das Training nutzbar zu machen. Dazu gehören die Tokenisierung des Textes, die Entfernung von Stoppwörtern und die Bereinigung der Daten.</a:t>
            </a:r>
          </a:p>
          <a:p>
            <a:pPr algn="l"/>
            <a:endParaRPr lang="de-DE" b="0" i="0">
              <a:solidFill>
                <a:srgbClr val="374151"/>
              </a:solidFill>
              <a:effectLst/>
              <a:latin typeface="Söhne"/>
            </a:endParaRPr>
          </a:p>
          <a:p>
            <a:pPr algn="l">
              <a:buFont typeface="+mj-lt"/>
              <a:buAutoNum type="arabicPeriod" startAt="2"/>
            </a:pPr>
            <a:r>
              <a:rPr lang="de-DE" b="1" i="0">
                <a:solidFill>
                  <a:srgbClr val="374151"/>
                </a:solidFill>
                <a:effectLst/>
                <a:latin typeface="Söhne"/>
              </a:rPr>
              <a:t>Modellauswahl und Konfiguration:</a:t>
            </a:r>
          </a:p>
          <a:p>
            <a:pPr algn="l"/>
            <a:r>
              <a:rPr lang="de-DE" b="0" i="0">
                <a:solidFill>
                  <a:srgbClr val="374151"/>
                </a:solidFill>
                <a:effectLst/>
                <a:latin typeface="Söhne"/>
              </a:rPr>
              <a:t>Hier wird die geeignete Modellarchitektur und Techniken basierend auf den Anforderungen des Projekts ausgewählt. Für LLMs wie </a:t>
            </a:r>
            <a:r>
              <a:rPr lang="de-DE" b="0" i="0" err="1">
                <a:solidFill>
                  <a:srgbClr val="374151"/>
                </a:solidFill>
                <a:effectLst/>
                <a:latin typeface="Söhne"/>
              </a:rPr>
              <a:t>ChatGPT</a:t>
            </a:r>
            <a:r>
              <a:rPr lang="de-DE" b="0" i="0">
                <a:solidFill>
                  <a:srgbClr val="374151"/>
                </a:solidFill>
                <a:effectLst/>
                <a:latin typeface="Söhne"/>
              </a:rPr>
              <a:t> kommen häufig Transformer-Architekturen zum Einsatz. Wichtige Elemente des Modells, wie die Anzahl der Schichten in Transformer-Blöcken, die Anzahl der Aufmerksamkeitsköpfe, die Verlustfunktion und Hyperparameter, müssen bei der Konfiguration eines Transformer-Neuronalen Netzwerks festgelegt werden. Die Konfiguration des Modells beeinflusst direkt die Trainingszeit.</a:t>
            </a:r>
          </a:p>
          <a:p>
            <a:pPr algn="l"/>
            <a:endParaRPr lang="de-DE" b="0" i="0">
              <a:solidFill>
                <a:srgbClr val="374151"/>
              </a:solidFill>
              <a:effectLst/>
              <a:latin typeface="Söhne"/>
            </a:endParaRPr>
          </a:p>
          <a:p>
            <a:pPr algn="l">
              <a:buFont typeface="+mj-lt"/>
              <a:buAutoNum type="arabicPeriod" startAt="3"/>
            </a:pPr>
            <a:r>
              <a:rPr lang="de-DE" b="1" i="0">
                <a:solidFill>
                  <a:srgbClr val="374151"/>
                </a:solidFill>
                <a:effectLst/>
                <a:latin typeface="Söhne"/>
              </a:rPr>
              <a:t>Modelltraining:</a:t>
            </a:r>
          </a:p>
          <a:p>
            <a:pPr algn="l"/>
            <a:r>
              <a:rPr lang="de-DE" b="0" i="0">
                <a:solidFill>
                  <a:srgbClr val="374151"/>
                </a:solidFill>
                <a:effectLst/>
                <a:latin typeface="Söhne"/>
              </a:rPr>
              <a:t>Das ausgewählte Modell wird in dieser Phase </a:t>
            </a:r>
            <a:r>
              <a:rPr lang="de-DE" b="1" i="0">
                <a:solidFill>
                  <a:srgbClr val="374151"/>
                </a:solidFill>
                <a:effectLst/>
                <a:latin typeface="Söhne"/>
              </a:rPr>
              <a:t>auf den vorverarbeiteten Textdaten trainiert</a:t>
            </a:r>
            <a:r>
              <a:rPr lang="de-DE" b="0" i="0">
                <a:solidFill>
                  <a:srgbClr val="374151"/>
                </a:solidFill>
                <a:effectLst/>
                <a:latin typeface="Söhne"/>
              </a:rPr>
              <a:t>. Während des Trainingsprozesses wird das Modell mit Sequenzen von Wörtern konfrontiert und darauf trainiert, das nächste Wort in der Sequenz vorherzusagen. Das Modell passt seine Gewichte basierend auf der Differenz zwischen seiner Vorhersage und dem tatsächlichen nächsten Wort an. Dieser Prozess wird millionenfach wiederholt, bis das Modell eine zufriedenstellende Leistung erreicht.</a:t>
            </a:r>
          </a:p>
          <a:p>
            <a:pPr algn="l"/>
            <a:endParaRPr lang="de-DE" b="0" i="0">
              <a:solidFill>
                <a:srgbClr val="374151"/>
              </a:solidFill>
              <a:effectLst/>
              <a:latin typeface="Söhne"/>
            </a:endParaRPr>
          </a:p>
          <a:p>
            <a:pPr algn="l"/>
            <a:r>
              <a:rPr lang="de-DE" b="1" i="0">
                <a:solidFill>
                  <a:srgbClr val="374151"/>
                </a:solidFill>
                <a:effectLst/>
                <a:latin typeface="Söhne"/>
              </a:rPr>
              <a:t>Menschen sind in verschiedenen Aspekten des Modelltrainings beteiligt</a:t>
            </a:r>
            <a:r>
              <a:rPr lang="de-DE" b="0" i="0">
                <a:solidFill>
                  <a:srgbClr val="374151"/>
                </a:solidFill>
                <a:effectLst/>
                <a:latin typeface="Söhne"/>
              </a:rPr>
              <a:t>. Sie legen Trainingsziele fest und passen Lernraten und andere Hyperparameter an, um den Trainingsprozess zu optimieren. Während des Trainings überwachen sie den Fortschritt und identifizieren potenzielle Probleme, wie </a:t>
            </a:r>
            <a:r>
              <a:rPr lang="de-DE" b="0" i="0" err="1">
                <a:solidFill>
                  <a:srgbClr val="374151"/>
                </a:solidFill>
                <a:effectLst/>
                <a:latin typeface="Söhne"/>
              </a:rPr>
              <a:t>Overfitting</a:t>
            </a:r>
            <a:r>
              <a:rPr lang="de-DE" b="0" i="0">
                <a:solidFill>
                  <a:srgbClr val="374151"/>
                </a:solidFill>
                <a:effectLst/>
                <a:latin typeface="Söhne"/>
              </a:rPr>
              <a:t> oder </a:t>
            </a:r>
            <a:r>
              <a:rPr lang="de-DE" b="0" i="0" err="1">
                <a:solidFill>
                  <a:srgbClr val="374151"/>
                </a:solidFill>
                <a:effectLst/>
                <a:latin typeface="Söhne"/>
              </a:rPr>
              <a:t>Vanishing</a:t>
            </a:r>
            <a:r>
              <a:rPr lang="de-DE" b="0" i="0">
                <a:solidFill>
                  <a:srgbClr val="374151"/>
                </a:solidFill>
                <a:effectLst/>
                <a:latin typeface="Söhne"/>
              </a:rPr>
              <a:t> Gradient, die während des Trainings auftreten können.</a:t>
            </a:r>
          </a:p>
          <a:p>
            <a:pPr algn="l"/>
            <a:r>
              <a:rPr lang="de-DE" b="0" i="0">
                <a:solidFill>
                  <a:srgbClr val="374151"/>
                </a:solidFill>
                <a:effectLst/>
                <a:latin typeface="Söhne"/>
              </a:rPr>
              <a:t>Darüber hinaus spielen Menschen eine wichtige Rolle bei der Bewertung der Qualität des trainierten Modells. Sie prüfen die vom Modell generierten Antworten oder Vorhersagen und geben Feedback, um das Modell weiter zu verbessern. Dies kann durch aktives Lernen geschehen, bei dem Menschen die vom Modell erzeugten Ausgaben bewerten und diejenigen auswählen, die für das Training am wertvollsten sind.</a:t>
            </a:r>
          </a:p>
          <a:p>
            <a:pPr algn="l"/>
            <a:endParaRPr lang="de-DE" b="0" i="0">
              <a:solidFill>
                <a:srgbClr val="374151"/>
              </a:solidFill>
              <a:effectLst/>
              <a:latin typeface="Söhne"/>
            </a:endParaRPr>
          </a:p>
          <a:p>
            <a:pPr algn="l"/>
            <a:r>
              <a:rPr lang="de-DE" b="0" i="0">
                <a:solidFill>
                  <a:srgbClr val="374151"/>
                </a:solidFill>
                <a:effectLst/>
                <a:latin typeface="Söhne"/>
              </a:rPr>
              <a:t>Da Modelle und Daten groß sind, erfordert das Training erhebliche </a:t>
            </a:r>
            <a:r>
              <a:rPr lang="de-DE" b="1" i="0">
                <a:solidFill>
                  <a:srgbClr val="374151"/>
                </a:solidFill>
                <a:effectLst/>
                <a:latin typeface="Söhne"/>
              </a:rPr>
              <a:t>Rechenleistung</a:t>
            </a:r>
            <a:r>
              <a:rPr lang="de-DE" b="0" i="0">
                <a:solidFill>
                  <a:srgbClr val="374151"/>
                </a:solidFill>
                <a:effectLst/>
                <a:latin typeface="Söhne"/>
              </a:rPr>
              <a:t>. Um die Trainingszeit zu verkürzen, wird eine Technik namens </a:t>
            </a:r>
            <a:r>
              <a:rPr lang="de-DE" b="1" i="0">
                <a:solidFill>
                  <a:srgbClr val="374151"/>
                </a:solidFill>
                <a:effectLst/>
                <a:latin typeface="Söhne"/>
              </a:rPr>
              <a:t>Modellparallelismus</a:t>
            </a:r>
            <a:r>
              <a:rPr lang="de-DE" b="0" i="0">
                <a:solidFill>
                  <a:srgbClr val="374151"/>
                </a:solidFill>
                <a:effectLst/>
                <a:latin typeface="Söhne"/>
              </a:rPr>
              <a:t> verwendet. Dabei werden verschiedene Teile des Modells auf mehrere GPUs verteilt, sodass das Modell auf verteilte Weise mit KI-Chips trainiert werden kann. Durch die Aufteilung des Modells in kleinere Teile kann jeder Teil parallel trainiert werden, was den Trainingsprozess beschleunigt und eine bessere Gesamtleistung ermöglicht.</a:t>
            </a:r>
          </a:p>
          <a:p>
            <a:pPr algn="l"/>
            <a:endParaRPr lang="de-DE" b="0" i="0">
              <a:solidFill>
                <a:srgbClr val="374151"/>
              </a:solidFill>
              <a:effectLst/>
              <a:latin typeface="Söhne"/>
            </a:endParaRPr>
          </a:p>
          <a:p>
            <a:pPr algn="l">
              <a:buFont typeface="+mj-lt"/>
              <a:buAutoNum type="arabicPeriod" startAt="4"/>
            </a:pPr>
            <a:r>
              <a:rPr lang="de-DE" b="1" i="0">
                <a:solidFill>
                  <a:srgbClr val="374151"/>
                </a:solidFill>
                <a:effectLst/>
                <a:latin typeface="Söhne"/>
              </a:rPr>
              <a:t>Evaluation und Feinabstimmung:</a:t>
            </a:r>
          </a:p>
          <a:p>
            <a:pPr algn="l"/>
            <a:r>
              <a:rPr lang="de-DE" b="0" i="0">
                <a:solidFill>
                  <a:srgbClr val="374151"/>
                </a:solidFill>
                <a:effectLst/>
                <a:latin typeface="Söhne"/>
              </a:rPr>
              <a:t>Nach dem Training wird das Modell auf einem Testdatensatz evaluiert, der nicht als Trainingsdatensatz verwendet wurde, um die Leistung des Modells zu messen. Basierend auf den Evaluierungsergebnissen kann das Modell durch Anpassung der Hyperparameter, Änderung der Architektur oder Training mit zusätzlichen Daten feinabgestimmt werden, um die Leistung weiter zu verbesser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err="1"/>
              <a:t>n.a.</a:t>
            </a: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de-DE" sz="1200"/>
              <a:t>https://research.aimultiple.com/large-language-model-training/</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Feedback zur Überarbeitung</a:t>
            </a:r>
          </a:p>
          <a:p>
            <a:pPr marL="0" indent="0">
              <a:buFont typeface="Wingdings" panose="05000000000000000000" pitchFamily="2" charset="2"/>
              <a:buNone/>
            </a:pPr>
            <a:endParaRPr lang="en-US" sz="1200" baseline="0"/>
          </a:p>
          <a:p>
            <a:pPr marL="0" indent="0">
              <a:buFont typeface="Wingdings" panose="05000000000000000000" pitchFamily="2" charset="2"/>
              <a:buNone/>
            </a:pPr>
            <a:r>
              <a:rPr lang="en-US" sz="1200" baseline="0" err="1"/>
              <a:t>n.a.</a:t>
            </a:r>
            <a:endParaRPr lang="en-US" sz="1200" baseline="0"/>
          </a:p>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3269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inks:</a:t>
            </a:r>
          </a:p>
          <a:p>
            <a:r>
              <a:rPr lang="de-DE" dirty="0"/>
              <a:t>Beide </a:t>
            </a:r>
            <a:r>
              <a:rPr lang="de-DE" dirty="0" err="1"/>
              <a:t>Directly</a:t>
            </a:r>
            <a:r>
              <a:rPr lang="de-DE" dirty="0"/>
              <a:t>-</a:t>
            </a:r>
            <a:r>
              <a:rPr lang="de-DE" dirty="0" err="1"/>
              <a:t>Follows</a:t>
            </a:r>
            <a:r>
              <a:rPr lang="de-DE" dirty="0"/>
              <a:t>-Graphen zeigen denselben Prozess. Im ersten („Spaghetti“)-Graph sind homonyme Aktivitäten. Im zweiten Graph sind diese behoben worden und der Prozess ist deutlich klarer erkennbar.</a:t>
            </a:r>
          </a:p>
          <a:p>
            <a:endParaRPr lang="de-DE" dirty="0"/>
          </a:p>
          <a:p>
            <a:r>
              <a:rPr lang="de-DE" dirty="0"/>
              <a:t>Rechts:</a:t>
            </a:r>
          </a:p>
          <a:p>
            <a:r>
              <a:rPr lang="de-DE" dirty="0"/>
              <a:t>Ich nehme ein LLM und „bringe ihm PM bei“. Anschließend zeige ich ihm Daten, zu denen mir die KI weitere Daten generieren soll.</a:t>
            </a:r>
          </a:p>
        </p:txBody>
      </p:sp>
      <p:sp>
        <p:nvSpPr>
          <p:cNvPr id="4" name="Foliennummernplatzhalter 3"/>
          <p:cNvSpPr>
            <a:spLocks noGrp="1"/>
          </p:cNvSpPr>
          <p:nvPr>
            <p:ph type="sldNum" sz="quarter" idx="5"/>
          </p:nvPr>
        </p:nvSpPr>
        <p:spPr/>
        <p:txBody>
          <a:bodyPr/>
          <a:lstStyle/>
          <a:p>
            <a:fld id="{53B5FC97-C987-4D73-85FB-29610C2F4C2A}" type="slidenum">
              <a:rPr lang="de-DE" smtClean="0"/>
              <a:t>4</a:t>
            </a:fld>
            <a:endParaRPr lang="de-DE"/>
          </a:p>
        </p:txBody>
      </p:sp>
    </p:spTree>
    <p:extLst>
      <p:ext uri="{BB962C8B-B14F-4D97-AF65-F5344CB8AC3E}">
        <p14:creationId xmlns:p14="http://schemas.microsoft.com/office/powerpoint/2010/main" val="798463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r>
              <a:rPr lang="en-US" b="0" i="0">
                <a:solidFill>
                  <a:srgbClr val="000000"/>
                </a:solidFill>
                <a:effectLst/>
                <a:latin typeface="Georgia" panose="02040502050405020303" pitchFamily="18" charset="0"/>
              </a:rPr>
              <a:t>Quelle: https://www.washingtonpost.com/technology/interactive/2023/ai-chatbot-learning/</a:t>
            </a:r>
          </a:p>
          <a:p>
            <a:endParaRPr lang="en-US" b="0" i="0">
              <a:solidFill>
                <a:srgbClr val="000000"/>
              </a:solidFill>
              <a:effectLst/>
              <a:latin typeface="Georgia" panose="02040502050405020303" pitchFamily="18" charset="0"/>
            </a:endParaRP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To look inside this black box, </a:t>
            </a:r>
            <a:r>
              <a:rPr lang="en-US" b="1" i="0">
                <a:solidFill>
                  <a:srgbClr val="000000"/>
                </a:solidFill>
                <a:effectLst/>
                <a:latin typeface="Georgia" panose="02040502050405020303" pitchFamily="18" charset="0"/>
              </a:rPr>
              <a:t>we analyzed </a:t>
            </a:r>
            <a:r>
              <a:rPr lang="en-US" b="1" i="0" u="none" strike="noStrike">
                <a:effectLst/>
                <a:latin typeface="Georgia" panose="02040502050405020303" pitchFamily="18" charset="0"/>
                <a:hlinkClick r:id="rId3"/>
              </a:rPr>
              <a:t>Google’s C4 data set</a:t>
            </a:r>
            <a:r>
              <a:rPr lang="en-US" b="0" i="0">
                <a:solidFill>
                  <a:srgbClr val="000000"/>
                </a:solidFill>
                <a:effectLst/>
                <a:latin typeface="Georgia" panose="02040502050405020303" pitchFamily="18" charset="0"/>
              </a:rPr>
              <a:t>, a massive snapshot of the contents of </a:t>
            </a:r>
            <a:r>
              <a:rPr lang="en-US" b="1" i="0">
                <a:solidFill>
                  <a:srgbClr val="000000"/>
                </a:solidFill>
                <a:effectLst/>
                <a:latin typeface="Georgia" panose="02040502050405020303" pitchFamily="18" charset="0"/>
              </a:rPr>
              <a:t>15 million websites </a:t>
            </a:r>
            <a:r>
              <a:rPr lang="en-US" b="0" i="0">
                <a:solidFill>
                  <a:srgbClr val="000000"/>
                </a:solidFill>
                <a:effectLst/>
                <a:latin typeface="Georgia" panose="02040502050405020303" pitchFamily="18" charset="0"/>
              </a:rPr>
              <a:t>that </a:t>
            </a:r>
            <a:r>
              <a:rPr lang="en-US" b="1" i="0">
                <a:solidFill>
                  <a:srgbClr val="000000"/>
                </a:solidFill>
                <a:effectLst/>
                <a:latin typeface="Georgia" panose="02040502050405020303" pitchFamily="18" charset="0"/>
              </a:rPr>
              <a:t>have been used to instruct some high-profile English-language AIs</a:t>
            </a:r>
            <a:r>
              <a:rPr lang="en-US" b="0" i="0">
                <a:solidFill>
                  <a:srgbClr val="000000"/>
                </a:solidFill>
                <a:effectLst/>
                <a:latin typeface="Georgia" panose="02040502050405020303" pitchFamily="18" charset="0"/>
              </a:rPr>
              <a:t>, called large language models, including Google’s T5 and </a:t>
            </a:r>
            <a:r>
              <a:rPr lang="en-US" b="1" i="0">
                <a:solidFill>
                  <a:srgbClr val="000000"/>
                </a:solidFill>
                <a:effectLst/>
                <a:latin typeface="Georgia" panose="02040502050405020303" pitchFamily="18" charset="0"/>
              </a:rPr>
              <a:t>Facebook’s </a:t>
            </a:r>
            <a:r>
              <a:rPr lang="en-US" b="1" i="0" err="1">
                <a:solidFill>
                  <a:srgbClr val="000000"/>
                </a:solidFill>
                <a:effectLst/>
                <a:latin typeface="Georgia" panose="02040502050405020303" pitchFamily="18" charset="0"/>
              </a:rPr>
              <a:t>LLaMA</a:t>
            </a:r>
            <a:r>
              <a:rPr lang="en-US" b="0" i="0">
                <a:solidFill>
                  <a:srgbClr val="000000"/>
                </a:solidFill>
                <a:effectLst/>
                <a:latin typeface="Georgia" panose="02040502050405020303" pitchFamily="18" charset="0"/>
              </a:rPr>
              <a:t>. (OpenAI does not disclose what datasets it uses to train the models backing its popular chatbot, ChatGPT)</a:t>
            </a:r>
          </a:p>
          <a:p>
            <a:pPr marL="0" indent="0">
              <a:buFont typeface="Arial" panose="020B0604020202020204" pitchFamily="34" charset="0"/>
              <a:buNone/>
            </a:pPr>
            <a:endParaRPr lang="en-US" b="0" i="0">
              <a:solidFill>
                <a:srgbClr val="000000"/>
              </a:solidFill>
              <a:effectLst/>
              <a:latin typeface="Georgia" panose="02040502050405020303" pitchFamily="18" charset="0"/>
            </a:endParaRPr>
          </a:p>
          <a:p>
            <a:pPr marL="0" indent="0">
              <a:buFont typeface="Arial" panose="020B0604020202020204" pitchFamily="34" charset="0"/>
              <a:buNone/>
            </a:pPr>
            <a:r>
              <a:rPr lang="en-US" b="1" i="0">
                <a:solidFill>
                  <a:srgbClr val="000000"/>
                </a:solidFill>
                <a:effectLst/>
                <a:latin typeface="Georgia" panose="02040502050405020303" pitchFamily="18" charset="0"/>
              </a:rPr>
              <a:t>Summary</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The data set was dominated by websites from </a:t>
            </a:r>
            <a:r>
              <a:rPr lang="en-US" b="1" i="0">
                <a:solidFill>
                  <a:srgbClr val="000000"/>
                </a:solidFill>
                <a:effectLst/>
                <a:latin typeface="Georgia" panose="02040502050405020303" pitchFamily="18" charset="0"/>
              </a:rPr>
              <a:t>industries including journalism, entertainment, software development, medicine and content creation</a:t>
            </a:r>
            <a:r>
              <a:rPr lang="en-US" b="0" i="0">
                <a:solidFill>
                  <a:srgbClr val="000000"/>
                </a:solidFill>
                <a:effectLst/>
                <a:latin typeface="Georgia" panose="02040502050405020303" pitchFamily="18" charset="0"/>
              </a:rPr>
              <a:t>, helping to explain why these fields may be threatened by the new wave of artificial intelligence. </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The </a:t>
            </a:r>
            <a:r>
              <a:rPr lang="en-US" b="1" i="0">
                <a:solidFill>
                  <a:srgbClr val="000000"/>
                </a:solidFill>
                <a:effectLst/>
                <a:latin typeface="Georgia" panose="02040502050405020303" pitchFamily="18" charset="0"/>
              </a:rPr>
              <a:t>three biggest sites</a:t>
            </a:r>
            <a:r>
              <a:rPr lang="en-US" b="0" i="0">
                <a:solidFill>
                  <a:srgbClr val="000000"/>
                </a:solidFill>
                <a:effectLst/>
                <a:latin typeface="Georgia" panose="02040502050405020303" pitchFamily="18" charset="0"/>
              </a:rPr>
              <a:t> were patents.google.com </a:t>
            </a:r>
            <a:r>
              <a:rPr lang="en-US" b="0" i="0">
                <a:solidFill>
                  <a:srgbClr val="808080"/>
                </a:solidFill>
                <a:effectLst/>
                <a:latin typeface="Franklin"/>
              </a:rPr>
              <a:t>No. 1</a:t>
            </a:r>
            <a:r>
              <a:rPr lang="en-US" b="0" i="0">
                <a:solidFill>
                  <a:srgbClr val="000000"/>
                </a:solidFill>
                <a:effectLst/>
                <a:latin typeface="Georgia" panose="02040502050405020303" pitchFamily="18" charset="0"/>
              </a:rPr>
              <a:t>, which contains text from patents issued around the world; wikipedia.org </a:t>
            </a:r>
            <a:r>
              <a:rPr lang="en-US" b="0" i="0">
                <a:solidFill>
                  <a:srgbClr val="808080"/>
                </a:solidFill>
                <a:effectLst/>
                <a:latin typeface="Franklin"/>
              </a:rPr>
              <a:t>No. 2</a:t>
            </a:r>
            <a:r>
              <a:rPr lang="en-US" b="0" i="0">
                <a:solidFill>
                  <a:srgbClr val="000000"/>
                </a:solidFill>
                <a:effectLst/>
                <a:latin typeface="Georgia" panose="02040502050405020303" pitchFamily="18" charset="0"/>
              </a:rPr>
              <a:t>, the free online encyclopedia; and scribd.com </a:t>
            </a:r>
            <a:r>
              <a:rPr lang="en-US" b="0" i="0">
                <a:solidFill>
                  <a:srgbClr val="808080"/>
                </a:solidFill>
                <a:effectLst/>
                <a:latin typeface="Franklin"/>
              </a:rPr>
              <a:t>No. 3</a:t>
            </a:r>
            <a:r>
              <a:rPr lang="en-US" b="0" i="0">
                <a:solidFill>
                  <a:srgbClr val="000000"/>
                </a:solidFill>
                <a:effectLst/>
                <a:latin typeface="Georgia" panose="02040502050405020303" pitchFamily="18" charset="0"/>
              </a:rPr>
              <a:t>, a subscription-only digital library. </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Also high on the list: b-ok.org </a:t>
            </a:r>
            <a:r>
              <a:rPr lang="en-US" b="0" i="0">
                <a:solidFill>
                  <a:srgbClr val="808080"/>
                </a:solidFill>
                <a:effectLst/>
                <a:latin typeface="Franklin"/>
              </a:rPr>
              <a:t>No. 190</a:t>
            </a:r>
            <a:r>
              <a:rPr lang="en-US" b="0" i="0">
                <a:solidFill>
                  <a:srgbClr val="000000"/>
                </a:solidFill>
                <a:effectLst/>
                <a:latin typeface="Georgia" panose="02040502050405020303" pitchFamily="18" charset="0"/>
              </a:rPr>
              <a:t>, a notorious market for pirated e-books that has since been seized by the U.S. Justice Department. </a:t>
            </a:r>
          </a:p>
          <a:p>
            <a:pPr marL="171450" indent="-171450">
              <a:buFont typeface="Arial" panose="020B0604020202020204" pitchFamily="34" charset="0"/>
              <a:buChar char="•"/>
            </a:pPr>
            <a:r>
              <a:rPr lang="en-US" b="1" i="0">
                <a:solidFill>
                  <a:srgbClr val="000000"/>
                </a:solidFill>
                <a:effectLst/>
                <a:latin typeface="Georgia" panose="02040502050405020303" pitchFamily="18" charset="0"/>
              </a:rPr>
              <a:t>At least 27 other sites identified </a:t>
            </a:r>
            <a:r>
              <a:rPr lang="en-US" b="1" i="0" u="none" strike="noStrike">
                <a:effectLst/>
                <a:latin typeface="Georgia" panose="02040502050405020303" pitchFamily="18" charset="0"/>
                <a:hlinkClick r:id="rId4"/>
              </a:rPr>
              <a:t>by the U.S. government</a:t>
            </a:r>
            <a:r>
              <a:rPr lang="en-US" b="1" i="0">
                <a:solidFill>
                  <a:srgbClr val="000000"/>
                </a:solidFill>
                <a:effectLst/>
                <a:latin typeface="Georgia" panose="02040502050405020303" pitchFamily="18" charset="0"/>
              </a:rPr>
              <a:t> as markets for piracy and counterfeits were present in the data set</a:t>
            </a:r>
            <a:r>
              <a:rPr lang="en-US" b="0" i="0">
                <a:solidFill>
                  <a:srgbClr val="000000"/>
                </a:solidFill>
                <a:effectLst/>
                <a:latin typeface="Georgia" panose="02040502050405020303" pitchFamily="18" charset="0"/>
              </a:rPr>
              <a:t>.</a:t>
            </a:r>
          </a:p>
          <a:p>
            <a:pPr marL="171450" indent="-171450">
              <a:buFont typeface="Arial" panose="020B0604020202020204" pitchFamily="34" charset="0"/>
              <a:buChar char="•"/>
            </a:pPr>
            <a:r>
              <a:rPr lang="de-DE" b="1" i="0" err="1">
                <a:solidFill>
                  <a:srgbClr val="000000"/>
                </a:solidFill>
                <a:effectLst/>
                <a:latin typeface="Georgia" panose="02040502050405020303" pitchFamily="18" charset="0"/>
              </a:rPr>
              <a:t>Some</a:t>
            </a:r>
            <a:r>
              <a:rPr lang="de-DE" b="1" i="0">
                <a:solidFill>
                  <a:srgbClr val="000000"/>
                </a:solidFill>
                <a:effectLst/>
                <a:latin typeface="Georgia" panose="02040502050405020303" pitchFamily="18" charset="0"/>
              </a:rPr>
              <a:t> top </a:t>
            </a:r>
            <a:r>
              <a:rPr lang="de-DE" b="1" i="0" err="1">
                <a:solidFill>
                  <a:srgbClr val="000000"/>
                </a:solidFill>
                <a:effectLst/>
                <a:latin typeface="Georgia" panose="02040502050405020303" pitchFamily="18" charset="0"/>
              </a:rPr>
              <a:t>sites</a:t>
            </a:r>
            <a:r>
              <a:rPr lang="de-DE" b="1" i="0">
                <a:solidFill>
                  <a:srgbClr val="000000"/>
                </a:solidFill>
                <a:effectLst/>
                <a:latin typeface="Georgia" panose="02040502050405020303" pitchFamily="18" charset="0"/>
              </a:rPr>
              <a:t> </a:t>
            </a:r>
            <a:r>
              <a:rPr lang="de-DE" b="1" i="0" err="1">
                <a:solidFill>
                  <a:srgbClr val="000000"/>
                </a:solidFill>
                <a:effectLst/>
                <a:latin typeface="Georgia" panose="02040502050405020303" pitchFamily="18" charset="0"/>
              </a:rPr>
              <a:t>seemed</a:t>
            </a:r>
            <a:r>
              <a:rPr lang="de-DE" b="1" i="0">
                <a:solidFill>
                  <a:srgbClr val="000000"/>
                </a:solidFill>
                <a:effectLst/>
                <a:latin typeface="Georgia" panose="02040502050405020303" pitchFamily="18" charset="0"/>
              </a:rPr>
              <a:t> </a:t>
            </a:r>
            <a:r>
              <a:rPr lang="de-DE" b="1" i="0" err="1">
                <a:solidFill>
                  <a:srgbClr val="000000"/>
                </a:solidFill>
                <a:effectLst/>
                <a:latin typeface="Georgia" panose="02040502050405020303" pitchFamily="18" charset="0"/>
              </a:rPr>
              <a:t>arbitrary</a:t>
            </a:r>
            <a:r>
              <a:rPr lang="de-DE" b="0" i="0">
                <a:solidFill>
                  <a:srgbClr val="000000"/>
                </a:solidFill>
                <a:effectLst/>
                <a:latin typeface="Georgia" panose="02040502050405020303" pitchFamily="18" charset="0"/>
              </a:rPr>
              <a:t>,</a:t>
            </a:r>
            <a:r>
              <a:rPr lang="de-DE" b="1" i="0">
                <a:solidFill>
                  <a:srgbClr val="000000"/>
                </a:solidFill>
                <a:effectLst/>
                <a:latin typeface="Georgia" panose="02040502050405020303" pitchFamily="18" charset="0"/>
              </a:rPr>
              <a:t> </a:t>
            </a:r>
            <a:r>
              <a:rPr lang="de-DE" b="0" i="0">
                <a:solidFill>
                  <a:srgbClr val="000000"/>
                </a:solidFill>
                <a:effectLst/>
                <a:latin typeface="Georgia" panose="02040502050405020303" pitchFamily="18" charset="0"/>
              </a:rPr>
              <a:t>like wowhead.com </a:t>
            </a:r>
            <a:r>
              <a:rPr lang="de-DE" b="0" i="0" err="1">
                <a:solidFill>
                  <a:srgbClr val="808080"/>
                </a:solidFill>
                <a:effectLst/>
                <a:latin typeface="Franklin"/>
              </a:rPr>
              <a:t>No</a:t>
            </a:r>
            <a:r>
              <a:rPr lang="de-DE" b="0" i="0">
                <a:solidFill>
                  <a:srgbClr val="808080"/>
                </a:solidFill>
                <a:effectLst/>
                <a:latin typeface="Franklin"/>
              </a:rPr>
              <a:t>. 181</a:t>
            </a:r>
            <a:r>
              <a:rPr lang="de-DE" b="0" i="0">
                <a:solidFill>
                  <a:srgbClr val="000000"/>
                </a:solidFill>
                <a:effectLst/>
                <a:latin typeface="Georgia" panose="02040502050405020303" pitchFamily="18" charset="0"/>
              </a:rPr>
              <a:t>, a World </a:t>
            </a:r>
            <a:r>
              <a:rPr lang="de-DE" b="0" i="0" err="1">
                <a:solidFill>
                  <a:srgbClr val="000000"/>
                </a:solidFill>
                <a:effectLst/>
                <a:latin typeface="Georgia" panose="02040502050405020303" pitchFamily="18" charset="0"/>
              </a:rPr>
              <a:t>of</a:t>
            </a:r>
            <a:r>
              <a:rPr lang="de-DE" b="0" i="0">
                <a:solidFill>
                  <a:srgbClr val="000000"/>
                </a:solidFill>
                <a:effectLst/>
                <a:latin typeface="Georgia" panose="02040502050405020303" pitchFamily="18" charset="0"/>
              </a:rPr>
              <a:t> Warcraft </a:t>
            </a:r>
            <a:r>
              <a:rPr lang="de-DE" b="0" i="0" err="1">
                <a:solidFill>
                  <a:srgbClr val="000000"/>
                </a:solidFill>
                <a:effectLst/>
                <a:latin typeface="Georgia" panose="02040502050405020303" pitchFamily="18" charset="0"/>
              </a:rPr>
              <a:t>player</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forum</a:t>
            </a:r>
            <a:r>
              <a:rPr lang="de-DE" b="0" i="0">
                <a:solidFill>
                  <a:srgbClr val="000000"/>
                </a:solidFill>
                <a:effectLst/>
                <a:latin typeface="Georgia" panose="02040502050405020303" pitchFamily="18" charset="0"/>
              </a:rPr>
              <a:t>; thriveglobal.com </a:t>
            </a:r>
            <a:r>
              <a:rPr lang="de-DE" b="0" i="0" err="1">
                <a:solidFill>
                  <a:srgbClr val="808080"/>
                </a:solidFill>
                <a:effectLst/>
                <a:latin typeface="Franklin"/>
              </a:rPr>
              <a:t>No</a:t>
            </a:r>
            <a:r>
              <a:rPr lang="de-DE" b="0" i="0">
                <a:solidFill>
                  <a:srgbClr val="808080"/>
                </a:solidFill>
                <a:effectLst/>
                <a:latin typeface="Franklin"/>
              </a:rPr>
              <a:t>. 175</a:t>
            </a:r>
            <a:r>
              <a:rPr lang="de-DE" b="0" i="0">
                <a:solidFill>
                  <a:srgbClr val="000000"/>
                </a:solidFill>
                <a:effectLst/>
                <a:latin typeface="Georgia" panose="02040502050405020303" pitchFamily="18" charset="0"/>
              </a:rPr>
              <a:t>, a </a:t>
            </a:r>
            <a:r>
              <a:rPr lang="de-DE" b="0" i="0" err="1">
                <a:solidFill>
                  <a:srgbClr val="000000"/>
                </a:solidFill>
                <a:effectLst/>
                <a:latin typeface="Georgia" panose="02040502050405020303" pitchFamily="18" charset="0"/>
              </a:rPr>
              <a:t>product</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for</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beating</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burnout</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founded</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by</a:t>
            </a:r>
            <a:r>
              <a:rPr lang="de-DE" b="0" i="0">
                <a:solidFill>
                  <a:srgbClr val="000000"/>
                </a:solidFill>
                <a:effectLst/>
                <a:latin typeface="Georgia" panose="02040502050405020303" pitchFamily="18" charset="0"/>
              </a:rPr>
              <a:t> Arianna Huffington; and at least 10 </a:t>
            </a:r>
            <a:r>
              <a:rPr lang="de-DE" b="0" i="0" err="1">
                <a:solidFill>
                  <a:srgbClr val="000000"/>
                </a:solidFill>
                <a:effectLst/>
                <a:latin typeface="Georgia" panose="02040502050405020303" pitchFamily="18" charset="0"/>
              </a:rPr>
              <a:t>sites</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that</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sell</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dumpsters</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including</a:t>
            </a:r>
            <a:r>
              <a:rPr lang="de-DE" b="0" i="0">
                <a:solidFill>
                  <a:srgbClr val="000000"/>
                </a:solidFill>
                <a:effectLst/>
                <a:latin typeface="Georgia" panose="02040502050405020303" pitchFamily="18" charset="0"/>
              </a:rPr>
              <a:t> dumpsteroid.com </a:t>
            </a:r>
            <a:r>
              <a:rPr lang="de-DE" b="0" i="0" err="1">
                <a:solidFill>
                  <a:srgbClr val="808080"/>
                </a:solidFill>
                <a:effectLst/>
                <a:latin typeface="Franklin"/>
              </a:rPr>
              <a:t>No</a:t>
            </a:r>
            <a:r>
              <a:rPr lang="de-DE" b="0" i="0">
                <a:solidFill>
                  <a:srgbClr val="808080"/>
                </a:solidFill>
                <a:effectLst/>
                <a:latin typeface="Franklin"/>
              </a:rPr>
              <a:t>. 183</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that</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no</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longer</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appear</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accessible</a:t>
            </a:r>
            <a:r>
              <a:rPr lang="de-DE" b="0" i="0">
                <a:solidFill>
                  <a:srgbClr val="000000"/>
                </a:solidFill>
                <a:effectLst/>
                <a:latin typeface="Georgia" panose="02040502050405020303" pitchFamily="18" charset="0"/>
              </a:rPr>
              <a:t>.</a:t>
            </a:r>
          </a:p>
          <a:p>
            <a:pPr marL="171450" indent="-171450">
              <a:buFont typeface="Arial" panose="020B0604020202020204" pitchFamily="34" charset="0"/>
              <a:buChar char="•"/>
            </a:pPr>
            <a:r>
              <a:rPr lang="en-US" b="1" i="0">
                <a:solidFill>
                  <a:srgbClr val="000000"/>
                </a:solidFill>
                <a:effectLst/>
                <a:latin typeface="Georgia" panose="02040502050405020303" pitchFamily="18" charset="0"/>
              </a:rPr>
              <a:t>Others raised significant privacy concerns</a:t>
            </a:r>
            <a:r>
              <a:rPr lang="en-US" b="0" i="0">
                <a:solidFill>
                  <a:srgbClr val="000000"/>
                </a:solidFill>
                <a:effectLst/>
                <a:latin typeface="Georgia" panose="02040502050405020303" pitchFamily="18" charset="0"/>
              </a:rPr>
              <a:t>. Two sites in the top 100, coloradovoters.info </a:t>
            </a:r>
            <a:r>
              <a:rPr lang="en-US" b="0" i="0">
                <a:solidFill>
                  <a:srgbClr val="808080"/>
                </a:solidFill>
                <a:effectLst/>
                <a:latin typeface="Franklin"/>
              </a:rPr>
              <a:t>No. 40</a:t>
            </a:r>
            <a:r>
              <a:rPr lang="en-US" b="0" i="0">
                <a:solidFill>
                  <a:srgbClr val="000000"/>
                </a:solidFill>
                <a:effectLst/>
                <a:latin typeface="Georgia" panose="02040502050405020303" pitchFamily="18" charset="0"/>
              </a:rPr>
              <a:t> and flvoters.com </a:t>
            </a:r>
            <a:r>
              <a:rPr lang="en-US" b="0" i="0">
                <a:solidFill>
                  <a:srgbClr val="808080"/>
                </a:solidFill>
                <a:effectLst/>
                <a:latin typeface="Franklin"/>
              </a:rPr>
              <a:t>No. 73</a:t>
            </a:r>
            <a:r>
              <a:rPr lang="en-US" b="0" i="0">
                <a:solidFill>
                  <a:srgbClr val="000000"/>
                </a:solidFill>
                <a:effectLst/>
                <a:latin typeface="Georgia" panose="02040502050405020303" pitchFamily="18" charset="0"/>
              </a:rPr>
              <a:t>, had privately hosted copies of state voter registration databases. Though voter data is public, the models could use this personal information in unknown ways.</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Kickstarter and </a:t>
            </a:r>
            <a:r>
              <a:rPr lang="en-US" b="0" i="0" err="1">
                <a:solidFill>
                  <a:srgbClr val="000000"/>
                </a:solidFill>
                <a:effectLst/>
                <a:latin typeface="Georgia" panose="02040502050405020303" pitchFamily="18" charset="0"/>
              </a:rPr>
              <a:t>Patreon</a:t>
            </a:r>
            <a:r>
              <a:rPr lang="en-US" b="0" i="0">
                <a:solidFill>
                  <a:srgbClr val="000000"/>
                </a:solidFill>
                <a:effectLst/>
                <a:latin typeface="Georgia" panose="02040502050405020303" pitchFamily="18" charset="0"/>
              </a:rPr>
              <a:t> may give the AI access to artists’ ideas and marketing copy</a:t>
            </a:r>
            <a:r>
              <a:rPr lang="en-US" b="1" i="0">
                <a:solidFill>
                  <a:srgbClr val="000000"/>
                </a:solidFill>
                <a:effectLst/>
                <a:latin typeface="Georgia" panose="02040502050405020303" pitchFamily="18" charset="0"/>
              </a:rPr>
              <a:t>, raising concerns the technology may copy this work in suggestions to users</a:t>
            </a:r>
            <a:r>
              <a:rPr lang="en-US" b="0" i="0">
                <a:solidFill>
                  <a:srgbClr val="000000"/>
                </a:solidFill>
                <a:effectLst/>
                <a:latin typeface="Georgia" panose="02040502050405020303" pitchFamily="18" charset="0"/>
              </a:rPr>
              <a:t>. Currently, artists receive no compensation or credit when their work is included in AI training data, and they have lodged copyright infringement claims against text-to-image generators Stable Diffusion, </a:t>
            </a:r>
            <a:r>
              <a:rPr lang="en-US" b="0" i="0" err="1">
                <a:solidFill>
                  <a:srgbClr val="000000"/>
                </a:solidFill>
                <a:effectLst/>
                <a:latin typeface="Georgia" panose="02040502050405020303" pitchFamily="18" charset="0"/>
              </a:rPr>
              <a:t>MidJourney</a:t>
            </a:r>
            <a:r>
              <a:rPr lang="en-US" b="0" i="0">
                <a:solidFill>
                  <a:srgbClr val="000000"/>
                </a:solidFill>
                <a:effectLst/>
                <a:latin typeface="Georgia" panose="02040502050405020303" pitchFamily="18" charset="0"/>
              </a:rPr>
              <a:t> and DeviantArt.</a:t>
            </a:r>
          </a:p>
          <a:p>
            <a:pPr marL="0" indent="0">
              <a:buFont typeface="Arial" panose="020B0604020202020204" pitchFamily="34" charset="0"/>
              <a:buNone/>
            </a:pPr>
            <a:endParaRPr lang="en-US" b="0" i="0">
              <a:solidFill>
                <a:srgbClr val="000000"/>
              </a:solidFill>
              <a:effectLst/>
              <a:latin typeface="Georgia" panose="02040502050405020303" pitchFamily="18" charset="0"/>
            </a:endParaRPr>
          </a:p>
          <a:p>
            <a:pPr marL="0" indent="0">
              <a:buFont typeface="Arial" panose="020B0604020202020204" pitchFamily="34" charset="0"/>
              <a:buNone/>
            </a:pPr>
            <a:r>
              <a:rPr lang="en-US" b="1" i="0">
                <a:solidFill>
                  <a:srgbClr val="000000"/>
                </a:solidFill>
                <a:effectLst/>
                <a:latin typeface="Georgia" panose="02040502050405020303" pitchFamily="18" charset="0"/>
              </a:rPr>
              <a:t>News</a:t>
            </a:r>
            <a:r>
              <a:rPr lang="en-US" b="0" i="0">
                <a:solidFill>
                  <a:srgbClr val="000000"/>
                </a:solidFill>
                <a:effectLst/>
                <a:latin typeface="Georgia" panose="02040502050405020303" pitchFamily="18" charset="0"/>
              </a:rPr>
              <a:t>: </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The News and Media category ranks</a:t>
            </a:r>
            <a:r>
              <a:rPr lang="en-US" b="1" i="0">
                <a:solidFill>
                  <a:srgbClr val="000000"/>
                </a:solidFill>
                <a:effectLst/>
                <a:latin typeface="Georgia" panose="02040502050405020303" pitchFamily="18" charset="0"/>
              </a:rPr>
              <a:t> </a:t>
            </a:r>
            <a:r>
              <a:rPr lang="en-US" b="0" i="0">
                <a:solidFill>
                  <a:srgbClr val="000000"/>
                </a:solidFill>
                <a:effectLst/>
                <a:latin typeface="Georgia" panose="02040502050405020303" pitchFamily="18" charset="0"/>
              </a:rPr>
              <a:t>third across categories. But half of the top 10 sites overall were news outlets: nytimes.com </a:t>
            </a:r>
            <a:r>
              <a:rPr lang="en-US" b="0" i="0">
                <a:solidFill>
                  <a:srgbClr val="808080"/>
                </a:solidFill>
                <a:effectLst/>
                <a:latin typeface="Franklin"/>
              </a:rPr>
              <a:t>No. 4</a:t>
            </a:r>
            <a:r>
              <a:rPr lang="en-US" b="0" i="0">
                <a:solidFill>
                  <a:srgbClr val="000000"/>
                </a:solidFill>
                <a:effectLst/>
                <a:latin typeface="Georgia" panose="02040502050405020303" pitchFamily="18" charset="0"/>
              </a:rPr>
              <a:t>, latimes.com </a:t>
            </a:r>
            <a:r>
              <a:rPr lang="en-US" b="0" i="0">
                <a:solidFill>
                  <a:srgbClr val="808080"/>
                </a:solidFill>
                <a:effectLst/>
                <a:latin typeface="Franklin"/>
              </a:rPr>
              <a:t>No. 6</a:t>
            </a:r>
            <a:r>
              <a:rPr lang="en-US" b="0" i="0">
                <a:solidFill>
                  <a:srgbClr val="000000"/>
                </a:solidFill>
                <a:effectLst/>
                <a:latin typeface="Georgia" panose="02040502050405020303" pitchFamily="18" charset="0"/>
              </a:rPr>
              <a:t>, theguardian.com </a:t>
            </a:r>
            <a:r>
              <a:rPr lang="en-US" b="0" i="0">
                <a:solidFill>
                  <a:srgbClr val="808080"/>
                </a:solidFill>
                <a:effectLst/>
                <a:latin typeface="Franklin"/>
              </a:rPr>
              <a:t>No. 7</a:t>
            </a:r>
            <a:r>
              <a:rPr lang="en-US" b="0" i="0">
                <a:solidFill>
                  <a:srgbClr val="000000"/>
                </a:solidFill>
                <a:effectLst/>
                <a:latin typeface="Georgia" panose="02040502050405020303" pitchFamily="18" charset="0"/>
              </a:rPr>
              <a:t>, forbes.com </a:t>
            </a:r>
            <a:r>
              <a:rPr lang="en-US" b="0" i="0">
                <a:solidFill>
                  <a:srgbClr val="808080"/>
                </a:solidFill>
                <a:effectLst/>
                <a:latin typeface="Franklin"/>
              </a:rPr>
              <a:t>No. 8</a:t>
            </a:r>
            <a:r>
              <a:rPr lang="en-US" b="0" i="0">
                <a:solidFill>
                  <a:srgbClr val="000000"/>
                </a:solidFill>
                <a:effectLst/>
                <a:latin typeface="Georgia" panose="02040502050405020303" pitchFamily="18" charset="0"/>
              </a:rPr>
              <a:t>, and huffpost.com </a:t>
            </a:r>
            <a:r>
              <a:rPr lang="en-US" b="0" i="0">
                <a:solidFill>
                  <a:srgbClr val="808080"/>
                </a:solidFill>
                <a:effectLst/>
                <a:latin typeface="Franklin"/>
              </a:rPr>
              <a:t>No. 9</a:t>
            </a:r>
            <a:r>
              <a:rPr lang="en-US" b="0" i="0">
                <a:solidFill>
                  <a:srgbClr val="000000"/>
                </a:solidFill>
                <a:effectLst/>
                <a:latin typeface="Georgia" panose="02040502050405020303" pitchFamily="18" charset="0"/>
              </a:rPr>
              <a:t>. (Washingtonpost.com </a:t>
            </a:r>
            <a:r>
              <a:rPr lang="en-US" b="0" i="0">
                <a:solidFill>
                  <a:srgbClr val="808080"/>
                </a:solidFill>
                <a:effectLst/>
                <a:latin typeface="Franklin"/>
              </a:rPr>
              <a:t>No. 11</a:t>
            </a:r>
            <a:r>
              <a:rPr lang="en-US" b="0" i="0">
                <a:solidFill>
                  <a:srgbClr val="000000"/>
                </a:solidFill>
                <a:effectLst/>
                <a:latin typeface="Georgia" panose="02040502050405020303" pitchFamily="18" charset="0"/>
              </a:rPr>
              <a:t> was close behind.) Like artists and creators, some news organizations have </a:t>
            </a:r>
            <a:r>
              <a:rPr lang="en-US" b="0" i="0" u="none" strike="noStrike">
                <a:effectLst/>
                <a:latin typeface="Georgia" panose="02040502050405020303" pitchFamily="18" charset="0"/>
                <a:hlinkClick r:id="rId5"/>
              </a:rPr>
              <a:t>criticized tech companies </a:t>
            </a:r>
            <a:r>
              <a:rPr lang="en-US" b="0" i="0">
                <a:solidFill>
                  <a:srgbClr val="000000"/>
                </a:solidFill>
                <a:effectLst/>
                <a:latin typeface="Georgia" panose="02040502050405020303" pitchFamily="18" charset="0"/>
              </a:rPr>
              <a:t>for using their content without authorization or compensation.</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Meanwhile, we found several media outlets that rank low on </a:t>
            </a:r>
            <a:r>
              <a:rPr lang="en-US" b="0" i="0" err="1">
                <a:solidFill>
                  <a:srgbClr val="000000"/>
                </a:solidFill>
                <a:effectLst/>
                <a:latin typeface="Georgia" panose="02040502050405020303" pitchFamily="18" charset="0"/>
              </a:rPr>
              <a:t>NewsGuard’s</a:t>
            </a:r>
            <a:r>
              <a:rPr lang="en-US" b="0" i="0">
                <a:solidFill>
                  <a:srgbClr val="000000"/>
                </a:solidFill>
                <a:effectLst/>
                <a:latin typeface="Georgia" panose="02040502050405020303" pitchFamily="18" charset="0"/>
              </a:rPr>
              <a:t> independent scale for trustworthiness: RT.com </a:t>
            </a:r>
            <a:r>
              <a:rPr lang="en-US" b="0" i="0">
                <a:solidFill>
                  <a:srgbClr val="808080"/>
                </a:solidFill>
                <a:effectLst/>
                <a:latin typeface="Franklin"/>
              </a:rPr>
              <a:t>No. 65</a:t>
            </a:r>
            <a:r>
              <a:rPr lang="en-US" b="0" i="0">
                <a:solidFill>
                  <a:srgbClr val="000000"/>
                </a:solidFill>
                <a:effectLst/>
                <a:latin typeface="Georgia" panose="02040502050405020303" pitchFamily="18" charset="0"/>
              </a:rPr>
              <a:t>, the Russian state-backed propaganda site; breitbart.com </a:t>
            </a:r>
            <a:r>
              <a:rPr lang="en-US" b="0" i="0">
                <a:solidFill>
                  <a:srgbClr val="808080"/>
                </a:solidFill>
                <a:effectLst/>
                <a:latin typeface="Franklin"/>
              </a:rPr>
              <a:t>No. 159</a:t>
            </a:r>
            <a:r>
              <a:rPr lang="en-US" b="0" i="0">
                <a:solidFill>
                  <a:srgbClr val="000000"/>
                </a:solidFill>
                <a:effectLst/>
                <a:latin typeface="Georgia" panose="02040502050405020303" pitchFamily="18" charset="0"/>
              </a:rPr>
              <a:t>, a well-known source for far-right news and opinion; and vdare.com </a:t>
            </a:r>
            <a:r>
              <a:rPr lang="en-US" b="0" i="0">
                <a:solidFill>
                  <a:srgbClr val="808080"/>
                </a:solidFill>
                <a:effectLst/>
                <a:latin typeface="Franklin"/>
              </a:rPr>
              <a:t>No. 993</a:t>
            </a:r>
            <a:r>
              <a:rPr lang="en-US" b="0" i="0">
                <a:solidFill>
                  <a:srgbClr val="000000"/>
                </a:solidFill>
                <a:effectLst/>
                <a:latin typeface="Georgia" panose="02040502050405020303" pitchFamily="18" charset="0"/>
              </a:rPr>
              <a:t>, an anti-immigration site that has been associated with white supremacy.</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Chatbots have been shown to confidently share incorrect information</a:t>
            </a:r>
            <a:r>
              <a:rPr lang="en-US" b="1" i="0">
                <a:solidFill>
                  <a:srgbClr val="000000"/>
                </a:solidFill>
                <a:effectLst/>
                <a:latin typeface="Georgia" panose="02040502050405020303" pitchFamily="18" charset="0"/>
              </a:rPr>
              <a:t>, </a:t>
            </a:r>
            <a:r>
              <a:rPr lang="en-US" b="0" i="0">
                <a:solidFill>
                  <a:srgbClr val="000000"/>
                </a:solidFill>
                <a:effectLst/>
                <a:latin typeface="Georgia" panose="02040502050405020303" pitchFamily="18" charset="0"/>
              </a:rPr>
              <a:t>but don’t always offer citations. </a:t>
            </a:r>
            <a:r>
              <a:rPr lang="en-US" b="1" i="0">
                <a:solidFill>
                  <a:srgbClr val="000000"/>
                </a:solidFill>
                <a:effectLst/>
                <a:latin typeface="Georgia" panose="02040502050405020303" pitchFamily="18" charset="0"/>
              </a:rPr>
              <a:t>Untrustworthy training data could lead it to spread bias, propaganda and misinformation — without the user being able to trace it to the original source</a:t>
            </a:r>
            <a:r>
              <a:rPr lang="en-US" b="0" i="0">
                <a:solidFill>
                  <a:srgbClr val="000000"/>
                </a:solidFill>
                <a:effectLst/>
                <a:latin typeface="Georgia" panose="02040502050405020303" pitchFamily="18" charset="0"/>
              </a:rPr>
              <a:t>.</a:t>
            </a:r>
          </a:p>
          <a:p>
            <a:pPr marL="171450" indent="-171450">
              <a:buFont typeface="Arial" panose="020B0604020202020204" pitchFamily="34" charset="0"/>
              <a:buChar char="•"/>
            </a:pPr>
            <a:endParaRPr lang="en-US" b="0" i="0">
              <a:solidFill>
                <a:srgbClr val="000000"/>
              </a:solidFill>
              <a:effectLst/>
              <a:latin typeface="Georgia" panose="02040502050405020303" pitchFamily="18" charset="0"/>
            </a:endParaRPr>
          </a:p>
          <a:p>
            <a:pPr marL="171450" indent="-171450">
              <a:buFont typeface="Arial" panose="020B0604020202020204" pitchFamily="34" charset="0"/>
              <a:buChar char="•"/>
            </a:pPr>
            <a:endParaRPr lang="en-US" b="0" i="0">
              <a:solidFill>
                <a:srgbClr val="000000"/>
              </a:solidFill>
              <a:effectLst/>
              <a:latin typeface="Georgia" panose="02040502050405020303" pitchFamily="18" charset="0"/>
            </a:endParaRPr>
          </a:p>
          <a:p>
            <a:pPr marL="0" indent="0">
              <a:buFont typeface="Arial" panose="020B0604020202020204" pitchFamily="34" charset="0"/>
              <a:buNone/>
            </a:pPr>
            <a:r>
              <a:rPr lang="en-US" b="1" i="0">
                <a:solidFill>
                  <a:srgbClr val="000000"/>
                </a:solidFill>
                <a:effectLst/>
                <a:latin typeface="Georgia" panose="02040502050405020303" pitchFamily="18" charset="0"/>
              </a:rPr>
              <a:t>Community: </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Sites devoted to community made up about 5 percent of categorized content, with religion dominating that category. Among the top 20 religious sites, 14 were Christian, two were Jewish and one was Muslim, one was Mormon, one was Jehovah’s Witness, and one celebrated all religions.</a:t>
            </a:r>
          </a:p>
          <a:p>
            <a:pPr marL="171450" indent="-171450">
              <a:buFont typeface="Arial" panose="020B0604020202020204" pitchFamily="34" charset="0"/>
              <a:buChar char="•"/>
            </a:pPr>
            <a:endParaRPr lang="en-US" b="1" i="0">
              <a:solidFill>
                <a:srgbClr val="000000"/>
              </a:solidFill>
              <a:effectLst/>
              <a:latin typeface="Georgia" panose="02040502050405020303" pitchFamily="18" charset="0"/>
            </a:endParaRPr>
          </a:p>
          <a:p>
            <a:pPr marL="0" indent="0">
              <a:buFont typeface="Arial" panose="020B0604020202020204" pitchFamily="34" charset="0"/>
              <a:buNone/>
            </a:pPr>
            <a:r>
              <a:rPr lang="en-US" b="1" i="0">
                <a:solidFill>
                  <a:srgbClr val="000000"/>
                </a:solidFill>
                <a:effectLst/>
                <a:latin typeface="Georgia" panose="02040502050405020303" pitchFamily="18" charset="0"/>
              </a:rPr>
              <a:t>Technology:</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Technology is the second largest category, making up 15 percent of categorized tokens. This includes many platforms for building websites, like sites.google.com </a:t>
            </a:r>
            <a:r>
              <a:rPr lang="en-US" b="0" i="0">
                <a:solidFill>
                  <a:srgbClr val="808080"/>
                </a:solidFill>
                <a:effectLst/>
                <a:latin typeface="Franklin"/>
              </a:rPr>
              <a:t>No. 85</a:t>
            </a:r>
            <a:r>
              <a:rPr lang="en-US" b="0" i="0">
                <a:solidFill>
                  <a:srgbClr val="000000"/>
                </a:solidFill>
                <a:effectLst/>
                <a:latin typeface="Georgia" panose="02040502050405020303" pitchFamily="18" charset="0"/>
              </a:rPr>
              <a:t>, which hosts pages for everything from a Judo club in Reading England to a Catholic preschool in New Jersey.</a:t>
            </a:r>
          </a:p>
          <a:p>
            <a:pPr marL="171450" indent="-171450">
              <a:buFont typeface="Arial" panose="020B0604020202020204" pitchFamily="34" charset="0"/>
              <a:buChar char="•"/>
            </a:pPr>
            <a:r>
              <a:rPr lang="en-US" b="1" i="0">
                <a:solidFill>
                  <a:srgbClr val="000000"/>
                </a:solidFill>
                <a:effectLst/>
                <a:latin typeface="Georgia" panose="02040502050405020303" pitchFamily="18" charset="0"/>
              </a:rPr>
              <a:t>Social networks like Facebook and Twitter — the heart of the modern web — prohibit scraping, which means most data sets used to train AI cannot access them</a:t>
            </a:r>
            <a:r>
              <a:rPr lang="en-US" b="0" i="0">
                <a:solidFill>
                  <a:srgbClr val="000000"/>
                </a:solidFill>
                <a:effectLst/>
                <a:latin typeface="Georgia" panose="02040502050405020303" pitchFamily="18" charset="0"/>
              </a:rPr>
              <a:t>. Tech giants like Facebook and Google that are sitting on mammoth troves of conversational data have not been clear about how personal user information may be used to train AI models that are used internally or sold as products.</a:t>
            </a:r>
          </a:p>
          <a:p>
            <a:pPr marL="171450" indent="-171450">
              <a:buFont typeface="Arial" panose="020B0604020202020204" pitchFamily="34" charset="0"/>
              <a:buChar char="•"/>
            </a:pPr>
            <a:endParaRPr lang="en-US" b="0" i="0">
              <a:solidFill>
                <a:srgbClr val="000000"/>
              </a:solidFill>
              <a:effectLst/>
              <a:latin typeface="Georgia" panose="02040502050405020303" pitchFamily="18" charset="0"/>
            </a:endParaRPr>
          </a:p>
          <a:p>
            <a:pPr marL="0" indent="0">
              <a:buFont typeface="Arial" panose="020B0604020202020204" pitchFamily="34" charset="0"/>
              <a:buNone/>
            </a:pPr>
            <a:r>
              <a:rPr lang="en-US" b="1" i="0">
                <a:solidFill>
                  <a:srgbClr val="000000"/>
                </a:solidFill>
                <a:effectLst/>
                <a:latin typeface="Georgia" panose="02040502050405020303" pitchFamily="18" charset="0"/>
              </a:rPr>
              <a:t>Filtering</a:t>
            </a:r>
          </a:p>
          <a:p>
            <a:pPr marL="171450" indent="-171450" algn="l">
              <a:buFont typeface="Arial" panose="020B0604020202020204" pitchFamily="34" charset="0"/>
              <a:buChar char="•"/>
            </a:pPr>
            <a:r>
              <a:rPr lang="en-US" b="0" i="0">
                <a:solidFill>
                  <a:srgbClr val="000000"/>
                </a:solidFill>
                <a:effectLst/>
                <a:latin typeface="Georgia" panose="02040502050405020303" pitchFamily="18" charset="0"/>
              </a:rPr>
              <a:t>Like most companies, Google </a:t>
            </a:r>
            <a:r>
              <a:rPr lang="en-US" b="1" i="0">
                <a:solidFill>
                  <a:srgbClr val="000000"/>
                </a:solidFill>
                <a:effectLst/>
                <a:latin typeface="Georgia" panose="02040502050405020303" pitchFamily="18" charset="0"/>
              </a:rPr>
              <a:t>heavily filtered the data before feeding it to the AI</a:t>
            </a:r>
            <a:r>
              <a:rPr lang="en-US" b="0" i="0">
                <a:solidFill>
                  <a:srgbClr val="000000"/>
                </a:solidFill>
                <a:effectLst/>
                <a:latin typeface="Georgia" panose="02040502050405020303" pitchFamily="18" charset="0"/>
              </a:rPr>
              <a:t>. (C4 stands for Colossal Clean Crawled Corpus.). </a:t>
            </a:r>
          </a:p>
          <a:p>
            <a:pPr marL="171450" indent="-171450" algn="l">
              <a:buFont typeface="Arial" panose="020B0604020202020204" pitchFamily="34" charset="0"/>
              <a:buChar char="•"/>
            </a:pPr>
            <a:r>
              <a:rPr lang="en-US" b="0" i="0">
                <a:solidFill>
                  <a:srgbClr val="000000"/>
                </a:solidFill>
                <a:effectLst/>
                <a:latin typeface="Georgia" panose="02040502050405020303" pitchFamily="18" charset="0"/>
              </a:rPr>
              <a:t>In addition to </a:t>
            </a:r>
            <a:r>
              <a:rPr lang="en-US" b="1" i="0">
                <a:solidFill>
                  <a:srgbClr val="000000"/>
                </a:solidFill>
                <a:effectLst/>
                <a:latin typeface="Georgia" panose="02040502050405020303" pitchFamily="18" charset="0"/>
              </a:rPr>
              <a:t>removing gibberish and duplicate text</a:t>
            </a:r>
            <a:r>
              <a:rPr lang="en-US" b="0" i="0">
                <a:solidFill>
                  <a:srgbClr val="000000"/>
                </a:solidFill>
                <a:effectLst/>
                <a:latin typeface="Georgia" panose="02040502050405020303" pitchFamily="18" charset="0"/>
              </a:rPr>
              <a:t>, the company used the </a:t>
            </a:r>
            <a:r>
              <a:rPr lang="en-US" b="1" i="0">
                <a:solidFill>
                  <a:srgbClr val="000000"/>
                </a:solidFill>
                <a:effectLst/>
                <a:latin typeface="Georgia" panose="02040502050405020303" pitchFamily="18" charset="0"/>
              </a:rPr>
              <a:t>open source “List of Dirty, Naughty, Obscene, and Otherwise Bad Words</a:t>
            </a:r>
            <a:r>
              <a:rPr lang="en-US" b="0" i="0">
                <a:solidFill>
                  <a:srgbClr val="000000"/>
                </a:solidFill>
                <a:effectLst/>
                <a:latin typeface="Georgia" panose="02040502050405020303" pitchFamily="18" charset="0"/>
              </a:rPr>
              <a:t>,” which includes 402 terms in English and one emoji (a hand making a common but obscene gesture). </a:t>
            </a:r>
          </a:p>
          <a:p>
            <a:pPr marL="171450" indent="-171450" algn="l">
              <a:buFont typeface="Arial" panose="020B0604020202020204" pitchFamily="34" charset="0"/>
              <a:buChar char="•"/>
            </a:pPr>
            <a:r>
              <a:rPr lang="en-US" b="0" i="0">
                <a:solidFill>
                  <a:srgbClr val="000000"/>
                </a:solidFill>
                <a:effectLst/>
                <a:latin typeface="Georgia" panose="02040502050405020303" pitchFamily="18" charset="0"/>
              </a:rPr>
              <a:t>Companies typically use high-quality datasets to fine-tune models, shielding users from some unwanted content.</a:t>
            </a:r>
          </a:p>
          <a:p>
            <a:pPr marL="171450" indent="-171450" algn="l">
              <a:buFont typeface="Arial" panose="020B0604020202020204" pitchFamily="34" charset="0"/>
              <a:buChar char="•"/>
            </a:pPr>
            <a:endParaRPr lang="en-US" b="0" i="0">
              <a:solidFill>
                <a:srgbClr val="000000"/>
              </a:solidFill>
              <a:effectLst/>
              <a:latin typeface="Georgia" panose="02040502050405020303" pitchFamily="18" charset="0"/>
            </a:endParaRPr>
          </a:p>
          <a:p>
            <a:pPr marL="171450" indent="-171450" algn="l">
              <a:buFont typeface="Arial" panose="020B0604020202020204" pitchFamily="34" charset="0"/>
              <a:buChar char="•"/>
            </a:pPr>
            <a:r>
              <a:rPr lang="en-US" b="0" i="0">
                <a:solidFill>
                  <a:srgbClr val="000000"/>
                </a:solidFill>
                <a:effectLst/>
                <a:latin typeface="Georgia" panose="02040502050405020303" pitchFamily="18" charset="0"/>
              </a:rPr>
              <a:t>While this kind of blocklist is intended to limit a model’s exposure to racial slurs and obscenities as it’s being</a:t>
            </a:r>
            <a:r>
              <a:rPr lang="en-US" b="1" i="0">
                <a:solidFill>
                  <a:srgbClr val="000000"/>
                </a:solidFill>
                <a:effectLst/>
                <a:latin typeface="Georgia" panose="02040502050405020303" pitchFamily="18" charset="0"/>
              </a:rPr>
              <a:t> </a:t>
            </a:r>
            <a:r>
              <a:rPr lang="en-US" b="0" i="0">
                <a:solidFill>
                  <a:srgbClr val="000000"/>
                </a:solidFill>
                <a:effectLst/>
                <a:latin typeface="Georgia" panose="02040502050405020303" pitchFamily="18" charset="0"/>
              </a:rPr>
              <a:t>trained, it also has been shown to </a:t>
            </a:r>
            <a:r>
              <a:rPr lang="en-US" b="1" i="0">
                <a:solidFill>
                  <a:srgbClr val="000000"/>
                </a:solidFill>
                <a:effectLst/>
                <a:latin typeface="Georgia" panose="02040502050405020303" pitchFamily="18" charset="0"/>
              </a:rPr>
              <a:t>eliminate some nonsexual LGBTQ content</a:t>
            </a:r>
            <a:r>
              <a:rPr lang="en-US" b="0" i="0">
                <a:solidFill>
                  <a:srgbClr val="000000"/>
                </a:solidFill>
                <a:effectLst/>
                <a:latin typeface="Georgia" panose="02040502050405020303" pitchFamily="18" charset="0"/>
              </a:rPr>
              <a:t>. </a:t>
            </a:r>
          </a:p>
          <a:p>
            <a:pPr marL="171450" indent="-171450" algn="l">
              <a:buFont typeface="Arial" panose="020B0604020202020204" pitchFamily="34" charset="0"/>
              <a:buChar char="•"/>
            </a:pPr>
            <a:r>
              <a:rPr lang="en-US" b="0" i="0">
                <a:solidFill>
                  <a:srgbClr val="000000"/>
                </a:solidFill>
                <a:effectLst/>
                <a:latin typeface="Georgia" panose="02040502050405020303" pitchFamily="18" charset="0"/>
              </a:rPr>
              <a:t>As prior research has shown, a lot gets past the filters. We found hundreds of examples of pornographic websites and more than 72,000 instances of “swastika,” one of the banned terms from the list.</a:t>
            </a:r>
          </a:p>
          <a:p>
            <a:pPr marL="171450" indent="-171450" algn="l">
              <a:buFont typeface="Arial" panose="020B0604020202020204" pitchFamily="34" charset="0"/>
              <a:buChar char="•"/>
            </a:pPr>
            <a:endParaRPr lang="en-US" b="0" i="0">
              <a:solidFill>
                <a:srgbClr val="000000"/>
              </a:solidFill>
              <a:effectLst/>
              <a:latin typeface="Georgia" panose="02040502050405020303" pitchFamily="18" charset="0"/>
            </a:endParaRPr>
          </a:p>
          <a:p>
            <a:pPr marL="171450" indent="-171450" algn="l">
              <a:buFont typeface="Arial" panose="020B0604020202020204" pitchFamily="34" charset="0"/>
              <a:buChar char="•"/>
            </a:pPr>
            <a:r>
              <a:rPr lang="en-US" b="0" i="0">
                <a:solidFill>
                  <a:srgbClr val="000000"/>
                </a:solidFill>
                <a:effectLst/>
                <a:latin typeface="Georgia" panose="02040502050405020303" pitchFamily="18" charset="0"/>
              </a:rPr>
              <a:t>Meanwhile, The Post found that the </a:t>
            </a:r>
            <a:r>
              <a:rPr lang="en-US" b="1" i="0">
                <a:solidFill>
                  <a:srgbClr val="000000"/>
                </a:solidFill>
                <a:effectLst/>
                <a:latin typeface="Georgia" panose="02040502050405020303" pitchFamily="18" charset="0"/>
              </a:rPr>
              <a:t>filters failed to remove some troubling content</a:t>
            </a:r>
            <a:r>
              <a:rPr lang="en-US" b="0" i="0">
                <a:solidFill>
                  <a:srgbClr val="000000"/>
                </a:solidFill>
                <a:effectLst/>
                <a:latin typeface="Georgia" panose="02040502050405020303" pitchFamily="18" charset="0"/>
              </a:rPr>
              <a:t>, including the white supremacist site stormfront.org </a:t>
            </a:r>
            <a:r>
              <a:rPr lang="en-US" b="0" i="0">
                <a:solidFill>
                  <a:srgbClr val="808080"/>
                </a:solidFill>
                <a:effectLst/>
                <a:latin typeface="Franklin"/>
              </a:rPr>
              <a:t>No. 27,505</a:t>
            </a:r>
            <a:r>
              <a:rPr lang="en-US" b="0" i="0">
                <a:solidFill>
                  <a:srgbClr val="000000"/>
                </a:solidFill>
                <a:effectLst/>
                <a:latin typeface="Georgia" panose="02040502050405020303" pitchFamily="18" charset="0"/>
              </a:rPr>
              <a:t>, the anti-trans site kiwifarms.net </a:t>
            </a:r>
            <a:r>
              <a:rPr lang="en-US" b="0" i="0">
                <a:solidFill>
                  <a:srgbClr val="808080"/>
                </a:solidFill>
                <a:effectLst/>
                <a:latin typeface="Franklin"/>
              </a:rPr>
              <a:t>No. 378,986</a:t>
            </a:r>
            <a:r>
              <a:rPr lang="en-US" b="0" i="0">
                <a:solidFill>
                  <a:srgbClr val="000000"/>
                </a:solidFill>
                <a:effectLst/>
                <a:latin typeface="Georgia" panose="02040502050405020303" pitchFamily="18" charset="0"/>
              </a:rPr>
              <a:t>, and 4chan.org </a:t>
            </a:r>
            <a:r>
              <a:rPr lang="en-US" b="0" i="0">
                <a:solidFill>
                  <a:srgbClr val="808080"/>
                </a:solidFill>
                <a:effectLst/>
                <a:latin typeface="Franklin"/>
              </a:rPr>
              <a:t>No. 4,339,889</a:t>
            </a:r>
            <a:r>
              <a:rPr lang="en-US" b="0" i="0">
                <a:solidFill>
                  <a:srgbClr val="000000"/>
                </a:solidFill>
                <a:effectLst/>
                <a:latin typeface="Georgia" panose="02040502050405020303" pitchFamily="18" charset="0"/>
              </a:rPr>
              <a:t>, the anonymous message board known for organizing targeted harassment campaigns against individuals.</a:t>
            </a:r>
          </a:p>
          <a:p>
            <a:pPr marL="171450" indent="-171450" algn="l">
              <a:buFont typeface="Arial" panose="020B0604020202020204" pitchFamily="34" charset="0"/>
              <a:buChar char="•"/>
            </a:pPr>
            <a:endParaRPr lang="en-US" b="0" i="0">
              <a:solidFill>
                <a:srgbClr val="000000"/>
              </a:solidFill>
              <a:effectLst/>
              <a:latin typeface="Georgia" panose="02040502050405020303" pitchFamily="18" charset="0"/>
            </a:endParaRPr>
          </a:p>
          <a:p>
            <a:pPr algn="l"/>
            <a:r>
              <a:rPr lang="en-US" b="1" i="0">
                <a:solidFill>
                  <a:srgbClr val="000000"/>
                </a:solidFill>
                <a:effectLst/>
                <a:latin typeface="Postoni Standard"/>
              </a:rPr>
              <a:t>Is your website training AI?</a:t>
            </a:r>
          </a:p>
          <a:p>
            <a:pPr marL="171450" indent="-171450" algn="l">
              <a:buFont typeface="Arial" panose="020B0604020202020204" pitchFamily="34" charset="0"/>
              <a:buChar char="•"/>
            </a:pPr>
            <a:r>
              <a:rPr lang="en-US" b="0" i="0">
                <a:solidFill>
                  <a:srgbClr val="000000"/>
                </a:solidFill>
                <a:effectLst/>
                <a:latin typeface="Georgia" panose="02040502050405020303" pitchFamily="18" charset="0"/>
              </a:rPr>
              <a:t>A web crawl may sound like a copy of the entire internet, but it’s just a snapshot, capturing content from a sampling of webpages at a particular moment in time. </a:t>
            </a:r>
          </a:p>
          <a:p>
            <a:pPr marL="171450" indent="-171450" algn="l">
              <a:buFont typeface="Arial" panose="020B0604020202020204" pitchFamily="34" charset="0"/>
              <a:buChar char="•"/>
            </a:pPr>
            <a:r>
              <a:rPr lang="en-US" b="0" i="0">
                <a:solidFill>
                  <a:srgbClr val="000000"/>
                </a:solidFill>
                <a:effectLst/>
                <a:latin typeface="Georgia" panose="02040502050405020303" pitchFamily="18" charset="0"/>
              </a:rPr>
              <a:t>C4 began as a scrape performed in April 2019</a:t>
            </a:r>
            <a:r>
              <a:rPr lang="en-US" b="1" i="0">
                <a:solidFill>
                  <a:srgbClr val="000000"/>
                </a:solidFill>
                <a:effectLst/>
                <a:latin typeface="Georgia" panose="02040502050405020303" pitchFamily="18" charset="0"/>
              </a:rPr>
              <a:t> </a:t>
            </a:r>
            <a:r>
              <a:rPr lang="en-US" b="0" i="0">
                <a:solidFill>
                  <a:srgbClr val="000000"/>
                </a:solidFill>
                <a:effectLst/>
                <a:latin typeface="Georgia" panose="02040502050405020303" pitchFamily="18" charset="0"/>
              </a:rPr>
              <a:t>by the nonprofit </a:t>
            </a:r>
            <a:r>
              <a:rPr lang="en-US" b="0" i="0" err="1">
                <a:solidFill>
                  <a:srgbClr val="000000"/>
                </a:solidFill>
                <a:effectLst/>
                <a:latin typeface="Georgia" panose="02040502050405020303" pitchFamily="18" charset="0"/>
              </a:rPr>
              <a:t>CommonCrawl</a:t>
            </a:r>
            <a:r>
              <a:rPr lang="en-US" b="0" i="0">
                <a:solidFill>
                  <a:srgbClr val="000000"/>
                </a:solidFill>
                <a:effectLst/>
                <a:latin typeface="Georgia" panose="02040502050405020303" pitchFamily="18" charset="0"/>
              </a:rPr>
              <a:t>, a popular resource for AI models. </a:t>
            </a:r>
            <a:r>
              <a:rPr lang="en-US" b="0" i="0" err="1">
                <a:solidFill>
                  <a:srgbClr val="000000"/>
                </a:solidFill>
                <a:effectLst/>
                <a:latin typeface="Georgia" panose="02040502050405020303" pitchFamily="18" charset="0"/>
              </a:rPr>
              <a:t>CommonCrawl</a:t>
            </a:r>
            <a:r>
              <a:rPr lang="en-US" b="0" i="0">
                <a:solidFill>
                  <a:srgbClr val="000000"/>
                </a:solidFill>
                <a:effectLst/>
                <a:latin typeface="Georgia" panose="02040502050405020303" pitchFamily="18" charset="0"/>
              </a:rPr>
              <a:t> told The Post that it tries to prioritize the most important and reputable sites, but does not try to avoid licensed or copyrighted content</a:t>
            </a:r>
          </a:p>
          <a:p>
            <a:pPr marL="0" indent="0" algn="l">
              <a:buFont typeface="Arial" panose="020B0604020202020204" pitchFamily="34" charset="0"/>
              <a:buNone/>
            </a:pPr>
            <a:endParaRPr lang="en-US" b="0" i="0">
              <a:solidFill>
                <a:srgbClr val="000000"/>
              </a:solidFill>
              <a:effectLst/>
              <a:latin typeface="Georgia" panose="02040502050405020303" pitchFamily="18" charset="0"/>
            </a:endParaRPr>
          </a:p>
          <a:p>
            <a:pPr marL="171450" indent="-171450">
              <a:buFont typeface="Arial" panose="020B0604020202020204" pitchFamily="34" charset="0"/>
              <a:buChar char="•"/>
            </a:pPr>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9628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61250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err="1"/>
              <a:t>n.a.</a:t>
            </a: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Feedback zur Überarbeitung</a:t>
            </a:r>
          </a:p>
          <a:p>
            <a:pPr marL="0" indent="0">
              <a:buFont typeface="Wingdings" panose="05000000000000000000" pitchFamily="2" charset="2"/>
              <a:buNone/>
            </a:pPr>
            <a:endParaRPr lang="en-US" sz="1200" baseline="0"/>
          </a:p>
          <a:p>
            <a:pPr marL="0" indent="0">
              <a:buFont typeface="Wingdings" panose="05000000000000000000" pitchFamily="2" charset="2"/>
              <a:buNone/>
            </a:pPr>
            <a:r>
              <a:rPr lang="en-US" sz="1200" baseline="0" err="1"/>
              <a:t>n.a.</a:t>
            </a:r>
            <a:endParaRPr lang="en-US" sz="1200" baseline="0"/>
          </a:p>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90624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endParaRPr lang="de-DE" sz="1200">
              <a:latin typeface="Arial" panose="020B0604020202020204" pitchFamily="34" charset="0"/>
              <a:cs typeface="Arial" panose="020B0604020202020204" pitchFamily="34" charset="0"/>
            </a:endParaRPr>
          </a:p>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21496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a:p>
          <a:p>
            <a:r>
              <a:rPr lang="de-DE" b="1"/>
              <a:t>Erläuterung zur Verwendung und zum Verhalten der </a:t>
            </a:r>
            <a:r>
              <a:rPr lang="de-DE" b="1" err="1"/>
              <a:t>ChatAPI</a:t>
            </a:r>
            <a:endParaRPr lang="de-DE" b="1"/>
          </a:p>
          <a:p>
            <a:pPr marL="0" indent="0">
              <a:buFont typeface="Arial" panose="020B0604020202020204" pitchFamily="34" charset="0"/>
              <a:buNone/>
            </a:pPr>
            <a:r>
              <a:rPr lang="de-DE"/>
              <a:t>Die wichtigste Eingabe ist der Parameter </a:t>
            </a:r>
            <a:r>
              <a:rPr lang="de-DE" err="1"/>
              <a:t>messages</a:t>
            </a:r>
            <a:r>
              <a:rPr lang="de-DE"/>
              <a:t>. Nachrichten müssen ein Array von Nachrichtenobjekten sein, wobei jedes Objekt eine Rolle (entweder "System", "Benutzer" oder "Assistent") und einen Inhalt (den Inhalt der Nachricht) hat. Konversationen können so kurz wie 1 Nachricht sein oder viele Seiten füllen.</a:t>
            </a:r>
          </a:p>
          <a:p>
            <a:endParaRPr lang="de-DE"/>
          </a:p>
          <a:p>
            <a:pPr marL="171450" indent="-171450">
              <a:buFont typeface="Arial" panose="020B0604020202020204" pitchFamily="34" charset="0"/>
              <a:buChar char="•"/>
            </a:pPr>
            <a:r>
              <a:rPr lang="de-DE"/>
              <a:t>In der Regel beginnt eine Konversation mit einer Systemnachricht, gefolgt von abwechselnden Benutzer- und Assistentennachrichten.</a:t>
            </a:r>
          </a:p>
          <a:p>
            <a:endParaRPr lang="de-DE"/>
          </a:p>
          <a:p>
            <a:pPr marL="171450" indent="-171450">
              <a:buFont typeface="Arial" panose="020B0604020202020204" pitchFamily="34" charset="0"/>
              <a:buChar char="•"/>
            </a:pPr>
            <a:r>
              <a:rPr lang="de-DE"/>
              <a:t>Die Systemnachricht dient dazu, das Verhalten des Assistenten festzulegen. </a:t>
            </a:r>
          </a:p>
          <a:p>
            <a:endParaRPr lang="de-DE"/>
          </a:p>
          <a:p>
            <a:pPr marL="171450" indent="-171450">
              <a:buFont typeface="Arial" panose="020B0604020202020204" pitchFamily="34" charset="0"/>
              <a:buChar char="•"/>
            </a:pPr>
            <a:r>
              <a:rPr lang="de-DE"/>
              <a:t>Im obigen Beispiel wurde der Assistent mit "Sie sind ein hilfsbereiter Assistent" instruiert. </a:t>
            </a:r>
          </a:p>
          <a:p>
            <a:endParaRPr lang="de-DE"/>
          </a:p>
          <a:p>
            <a:pPr marL="171450" indent="-171450">
              <a:buFont typeface="Arial" panose="020B0604020202020204" pitchFamily="34" charset="0"/>
              <a:buChar char="•"/>
            </a:pPr>
            <a:r>
              <a:rPr lang="de-DE"/>
              <a:t>Die Meldungen des Assistenten helfen, frühere Antworten zu speichern. Sie können auch von einem Entwickler geschrieben werden, um Beispiele für das gewünschte Verhalten zu geben.</a:t>
            </a:r>
          </a:p>
          <a:p>
            <a:endParaRPr lang="de-DE"/>
          </a:p>
          <a:p>
            <a:r>
              <a:rPr lang="de-DE"/>
              <a:t>Die </a:t>
            </a:r>
            <a:r>
              <a:rPr lang="de-DE" b="1"/>
              <a:t>Einbeziehung der Konversationshistorie ist hilfreich</a:t>
            </a:r>
            <a:r>
              <a:rPr lang="de-DE"/>
              <a:t>, </a:t>
            </a:r>
            <a:r>
              <a:rPr lang="de-DE" b="1"/>
              <a:t>wenn sich Benutzeranweisungen auf frühere Nachrichten beziehen</a:t>
            </a:r>
            <a:r>
              <a:rPr lang="de-DE"/>
              <a:t>. </a:t>
            </a:r>
          </a:p>
          <a:p>
            <a:r>
              <a:rPr lang="de-DE"/>
              <a:t>Im obigen Beispiel macht die letzte Frage des Benutzers "Wo wurde das Spiel gespielt?" nur im Zusammenhang mit den vorherigen Nachrichten über die World Series 2020 Sinn. Da die Modelle kein Gedächtnis für frühere Anfragen haben, müssen alle relevanten Informationen über die Konversation geliefert werden. Wenn eine Konversation nicht in das Token-Limit des Modells passt, muss sie auf irgendeine Weise gekürzt werden.</a:t>
            </a:r>
            <a:endParaRPr lang="en-US"/>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err="1"/>
              <a:t>n.a.</a:t>
            </a: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Feedback zur Überarbeitung</a:t>
            </a:r>
          </a:p>
          <a:p>
            <a:pPr marL="0" indent="0">
              <a:buFont typeface="Wingdings" panose="05000000000000000000" pitchFamily="2" charset="2"/>
              <a:buNone/>
            </a:pPr>
            <a:endParaRPr lang="en-US" sz="1200" baseline="0"/>
          </a:p>
          <a:p>
            <a:pPr marL="0" indent="0">
              <a:buFont typeface="Wingdings" panose="05000000000000000000" pitchFamily="2" charset="2"/>
              <a:buNone/>
            </a:pPr>
            <a:r>
              <a:rPr lang="en-US" sz="1200" baseline="0" err="1"/>
              <a:t>n.a.</a:t>
            </a:r>
            <a:endParaRPr lang="en-US" sz="1200" baseline="0"/>
          </a:p>
          <a:p>
            <a:endParaRPr lang="de-DE"/>
          </a:p>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12151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err="1"/>
              <a:t>Warum</a:t>
            </a:r>
            <a:r>
              <a:rPr lang="en-US" sz="1200" baseline="0"/>
              <a:t> </a:t>
            </a:r>
            <a:r>
              <a:rPr lang="en-US" sz="1200" baseline="0" err="1"/>
              <a:t>wird</a:t>
            </a:r>
            <a:r>
              <a:rPr lang="en-US" sz="1200" baseline="0"/>
              <a:t> ChatGPT </a:t>
            </a:r>
            <a:r>
              <a:rPr lang="en-US" sz="1200" baseline="0" err="1"/>
              <a:t>genutzt</a:t>
            </a:r>
            <a:r>
              <a:rPr lang="en-US" sz="1200" baseline="0"/>
              <a: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err="1"/>
              <a:t>Wird</a:t>
            </a:r>
            <a:r>
              <a:rPr lang="en-US" sz="1200" baseline="0"/>
              <a:t> </a:t>
            </a:r>
            <a:r>
              <a:rPr lang="en-US" sz="1200" baseline="0" err="1"/>
              <a:t>Ziel</a:t>
            </a:r>
            <a:r>
              <a:rPr lang="en-US" sz="1200" baseline="0"/>
              <a:t> der </a:t>
            </a:r>
            <a:r>
              <a:rPr lang="en-US" sz="1200" baseline="0" err="1"/>
              <a:t>Nutzung</a:t>
            </a:r>
            <a:r>
              <a:rPr lang="en-US" sz="1200" baseline="0"/>
              <a:t> </a:t>
            </a:r>
            <a:r>
              <a:rPr lang="en-US" sz="1200" baseline="0" err="1"/>
              <a:t>mitgeteilt</a:t>
            </a:r>
            <a:r>
              <a:rPr lang="en-US" sz="1200" baseline="0"/>
              <a:t> </a:t>
            </a:r>
            <a:r>
              <a:rPr lang="en-US" sz="1200" baseline="0" err="1"/>
              <a:t>sind</a:t>
            </a:r>
            <a:r>
              <a:rPr lang="en-US" sz="1200" baseline="0"/>
              <a:t> ”</a:t>
            </a:r>
            <a:r>
              <a:rPr lang="en-US" sz="1200" baseline="0" err="1"/>
              <a:t>passendere</a:t>
            </a:r>
            <a:r>
              <a:rPr lang="en-US" sz="1200" baseline="0"/>
              <a:t>” Outputs </a:t>
            </a:r>
            <a:r>
              <a:rPr lang="en-US" sz="1200" baseline="0" err="1"/>
              <a:t>möglich</a:t>
            </a:r>
            <a:r>
              <a:rPr lang="en-US" sz="1200" baseline="0"/>
              <a: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a:t>“</a:t>
            </a:r>
            <a:r>
              <a:rPr lang="en-US" sz="1200" baseline="0" err="1"/>
              <a:t>Warum</a:t>
            </a:r>
            <a:r>
              <a:rPr lang="en-US" sz="1200" baseline="0"/>
              <a:t>“ </a:t>
            </a:r>
            <a:r>
              <a:rPr lang="en-US" sz="1200" baseline="0" err="1"/>
              <a:t>kann</a:t>
            </a:r>
            <a:r>
              <a:rPr lang="en-US" sz="1200" baseline="0"/>
              <a:t> in </a:t>
            </a:r>
            <a:r>
              <a:rPr lang="en-US" sz="1200" baseline="0" err="1"/>
              <a:t>einem</a:t>
            </a:r>
            <a:r>
              <a:rPr lang="en-US" sz="1200" baseline="0"/>
              <a:t> </a:t>
            </a:r>
            <a:r>
              <a:rPr lang="en-US" sz="1200" baseline="0" err="1"/>
              <a:t>Satz</a:t>
            </a:r>
            <a:r>
              <a:rPr lang="en-US" sz="1200" baseline="0"/>
              <a:t> </a:t>
            </a:r>
            <a:r>
              <a:rPr lang="en-US" sz="1200" baseline="0" err="1"/>
              <a:t>zu</a:t>
            </a:r>
            <a:r>
              <a:rPr lang="en-US" sz="1200" baseline="0"/>
              <a:t> </a:t>
            </a:r>
            <a:r>
              <a:rPr lang="en-US" sz="1200" baseline="0" err="1"/>
              <a:t>Beginn</a:t>
            </a:r>
            <a:r>
              <a:rPr lang="en-US" sz="1200" baseline="0"/>
              <a:t> des Prompts / der </a:t>
            </a:r>
            <a:r>
              <a:rPr lang="en-US" sz="1200" baseline="0" err="1"/>
              <a:t>Konversation</a:t>
            </a:r>
            <a:r>
              <a:rPr lang="en-US" sz="1200" baseline="0"/>
              <a:t> </a:t>
            </a:r>
            <a:r>
              <a:rPr lang="en-US" sz="1200" baseline="0" err="1"/>
              <a:t>erörtert</a:t>
            </a:r>
            <a:r>
              <a:rPr lang="en-US" sz="1200" baseline="0"/>
              <a:t> </a:t>
            </a:r>
            <a:r>
              <a:rPr lang="en-US" sz="1200" baseline="0" err="1"/>
              <a:t>werden</a:t>
            </a:r>
            <a:endParaRPr lang="en-US" sz="1200" baseline="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err="1"/>
              <a:t>n.a.</a:t>
            </a: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err="1"/>
              <a:t>n.a</a:t>
            </a:r>
            <a:r>
              <a:rPr lang="de-DE" sz="1200"/>
              <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Feedback zur Überarbeitung</a:t>
            </a:r>
          </a:p>
          <a:p>
            <a:pPr marL="0" indent="0">
              <a:buFont typeface="Wingdings" panose="05000000000000000000" pitchFamily="2" charset="2"/>
              <a:buNone/>
            </a:pPr>
            <a:endParaRPr lang="en-US" sz="1200" baseline="0"/>
          </a:p>
          <a:p>
            <a:pPr marL="0" indent="0">
              <a:buFont typeface="Wingdings" panose="05000000000000000000" pitchFamily="2" charset="2"/>
              <a:buNone/>
            </a:pPr>
            <a:r>
              <a:rPr lang="en-US" sz="1200" baseline="0" err="1"/>
              <a:t>n.a.</a:t>
            </a:r>
            <a:endParaRPr lang="en-US" sz="1200" baseline="0"/>
          </a:p>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21138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B235E42-08C2-4B51-8226-949D8765D5FF}" type="slidenum">
              <a:rPr lang="en-US" smtClean="0"/>
              <a:t>38</a:t>
            </a:fld>
            <a:endParaRPr lang="en-US"/>
          </a:p>
        </p:txBody>
      </p:sp>
    </p:spTree>
    <p:extLst>
      <p:ext uri="{BB962C8B-B14F-4D97-AF65-F5344CB8AC3E}">
        <p14:creationId xmlns:p14="http://schemas.microsoft.com/office/powerpoint/2010/main" val="36047838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dirty="0" err="1"/>
              <a:t>n.a.</a:t>
            </a: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Feedback zur Überarbeitung</a:t>
            </a:r>
          </a:p>
          <a:p>
            <a:pPr marL="0" indent="0">
              <a:buFont typeface="Wingdings" panose="05000000000000000000" pitchFamily="2" charset="2"/>
              <a:buNone/>
            </a:pPr>
            <a:endParaRPr lang="en-US" sz="1200" baseline="0" dirty="0"/>
          </a:p>
          <a:p>
            <a:pPr marL="0" indent="0">
              <a:buFont typeface="Wingdings" panose="05000000000000000000" pitchFamily="2" charset="2"/>
              <a:buNone/>
            </a:pPr>
            <a:r>
              <a:rPr lang="en-US" sz="1200" baseline="0" dirty="0" err="1"/>
              <a:t>n.a.</a:t>
            </a:r>
            <a:endParaRPr lang="en-US" sz="1200" baseline="0" dirty="0"/>
          </a:p>
        </p:txBody>
      </p:sp>
      <p:sp>
        <p:nvSpPr>
          <p:cNvPr id="4" name="Foliennummernplatzhalter 3"/>
          <p:cNvSpPr>
            <a:spLocks noGrp="1"/>
          </p:cNvSpPr>
          <p:nvPr>
            <p:ph type="sldNum" sz="quarter" idx="5"/>
          </p:nvPr>
        </p:nvSpPr>
        <p:spPr/>
        <p:txBody>
          <a:bodyPr/>
          <a:lstStyle/>
          <a:p>
            <a:fld id="{B4A55CF2-256D-44FD-9430-5B63A079CF51}" type="slidenum">
              <a:rPr lang="de-DE" smtClean="0"/>
              <a:t>40</a:t>
            </a:fld>
            <a:endParaRPr lang="de-DE"/>
          </a:p>
        </p:txBody>
      </p:sp>
    </p:spTree>
    <p:extLst>
      <p:ext uri="{BB962C8B-B14F-4D97-AF65-F5344CB8AC3E}">
        <p14:creationId xmlns:p14="http://schemas.microsoft.com/office/powerpoint/2010/main" val="8540878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ieser QR-Code führt zum eLearning-Kurs der Uni Bayreuth. Wer noch nicht eingeschrieben ist oder ihn nicht gefunden hat, kann ihn hier schnell finden.</a:t>
            </a:r>
          </a:p>
        </p:txBody>
      </p:sp>
      <p:sp>
        <p:nvSpPr>
          <p:cNvPr id="4" name="Foliennummernplatzhalter 3"/>
          <p:cNvSpPr>
            <a:spLocks noGrp="1"/>
          </p:cNvSpPr>
          <p:nvPr>
            <p:ph type="sldNum" sz="quarter" idx="5"/>
          </p:nvPr>
        </p:nvSpPr>
        <p:spPr/>
        <p:txBody>
          <a:bodyPr/>
          <a:lstStyle/>
          <a:p>
            <a:fld id="{53B5FC97-C987-4D73-85FB-29610C2F4C2A}" type="slidenum">
              <a:rPr lang="de-DE" smtClean="0"/>
              <a:t>42</a:t>
            </a:fld>
            <a:endParaRPr lang="de-DE"/>
          </a:p>
        </p:txBody>
      </p:sp>
    </p:spTree>
    <p:extLst>
      <p:ext uri="{BB962C8B-B14F-4D97-AF65-F5344CB8AC3E}">
        <p14:creationId xmlns:p14="http://schemas.microsoft.com/office/powerpoint/2010/main" val="41731165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GenAI</a:t>
            </a:r>
            <a:r>
              <a:rPr lang="de-DE" dirty="0"/>
              <a:t> kann die Interaktion von User und </a:t>
            </a:r>
            <a:r>
              <a:rPr lang="de-DE" dirty="0" err="1"/>
              <a:t>Application</a:t>
            </a:r>
            <a:r>
              <a:rPr lang="de-DE" dirty="0"/>
              <a:t> unterstützen und erweitern:</a:t>
            </a:r>
          </a:p>
          <a:p>
            <a:pPr marL="171450" indent="-171450">
              <a:buFont typeface="Arial" panose="020B0604020202020204" pitchFamily="34" charset="0"/>
              <a:buChar char="•"/>
            </a:pPr>
            <a:r>
              <a:rPr lang="de-DE" dirty="0"/>
              <a:t>User stellt Anfrage</a:t>
            </a:r>
          </a:p>
          <a:p>
            <a:pPr marL="628650" lvl="1" indent="-171450">
              <a:buFont typeface="Arial" panose="020B0604020202020204" pitchFamily="34" charset="0"/>
              <a:buChar char="•"/>
            </a:pPr>
            <a:r>
              <a:rPr lang="de-DE" dirty="0"/>
              <a:t>Anfrage bekannt (Ähnlichkeit zu früheren Anfragen &gt;= 0.9) -&gt; Daten werden per SQL aus DB geladen und als Antwort ausgegeben</a:t>
            </a:r>
          </a:p>
          <a:p>
            <a:pPr marL="628650" lvl="1" indent="-171450">
              <a:buFont typeface="Arial" panose="020B0604020202020204" pitchFamily="34" charset="0"/>
              <a:buChar char="•"/>
            </a:pPr>
            <a:r>
              <a:rPr lang="de-DE" dirty="0"/>
              <a:t>Anfrage unbekannt -&gt; Frage wird per LLM in einen SQL-Query-Prompt an die DB übersetzt:</a:t>
            </a:r>
          </a:p>
          <a:p>
            <a:pPr marL="1085850" lvl="2" indent="-171450">
              <a:buFont typeface="Arial" panose="020B0604020202020204" pitchFamily="34" charset="0"/>
              <a:buChar char="•"/>
            </a:pPr>
            <a:r>
              <a:rPr lang="de-DE" dirty="0"/>
              <a:t>Gibt es eine Antwort -&gt; Ende</a:t>
            </a:r>
          </a:p>
          <a:p>
            <a:pPr marL="1085850" lvl="2" indent="-171450">
              <a:buFont typeface="Arial" panose="020B0604020202020204" pitchFamily="34" charset="0"/>
              <a:buChar char="•"/>
            </a:pPr>
            <a:r>
              <a:rPr lang="de-DE" dirty="0"/>
              <a:t>Gibt es keine Antwort -&gt; Schleife mit Kontext, warum es keine Antwort gab. Neuer Prompt.</a:t>
            </a:r>
          </a:p>
          <a:p>
            <a:pPr marL="1085850" lvl="2" indent="-171450">
              <a:buFont typeface="Arial" panose="020B0604020202020204" pitchFamily="34" charset="0"/>
              <a:buChar char="•"/>
            </a:pPr>
            <a:r>
              <a:rPr lang="de-DE" dirty="0"/>
              <a:t>Abbruchkriterium: Schleifenindex N wird größer als Maximalzahl X, dann benötigt LLM mehr Info/Feedback.</a:t>
            </a:r>
          </a:p>
        </p:txBody>
      </p:sp>
      <p:sp>
        <p:nvSpPr>
          <p:cNvPr id="4" name="Foliennummernplatzhalter 3"/>
          <p:cNvSpPr>
            <a:spLocks noGrp="1"/>
          </p:cNvSpPr>
          <p:nvPr>
            <p:ph type="sldNum" sz="quarter" idx="5"/>
          </p:nvPr>
        </p:nvSpPr>
        <p:spPr/>
        <p:txBody>
          <a:bodyPr/>
          <a:lstStyle/>
          <a:p>
            <a:fld id="{53B5FC97-C987-4D73-85FB-29610C2F4C2A}" type="slidenum">
              <a:rPr lang="de-DE" smtClean="0"/>
              <a:t>44</a:t>
            </a:fld>
            <a:endParaRPr lang="de-DE"/>
          </a:p>
        </p:txBody>
      </p:sp>
    </p:spTree>
    <p:extLst>
      <p:ext uri="{BB962C8B-B14F-4D97-AF65-F5344CB8AC3E}">
        <p14:creationId xmlns:p14="http://schemas.microsoft.com/office/powerpoint/2010/main" val="3682278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3B5FC97-C987-4D73-85FB-29610C2F4C2A}" type="slidenum">
              <a:rPr lang="de-DE" smtClean="0"/>
              <a:t>9</a:t>
            </a:fld>
            <a:endParaRPr lang="de-DE"/>
          </a:p>
        </p:txBody>
      </p:sp>
    </p:spTree>
    <p:extLst>
      <p:ext uri="{BB962C8B-B14F-4D97-AF65-F5344CB8AC3E}">
        <p14:creationId xmlns:p14="http://schemas.microsoft.com/office/powerpoint/2010/main" val="24461925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6 Vorlesungseinheiten am Anfang, 2 Einheiten am Ende, und dazwischen 5 Expertenvorträge aus Wissenschaft und Wirtschaft</a:t>
            </a:r>
          </a:p>
          <a:p>
            <a:pPr marL="171450" indent="-171450">
              <a:buFont typeface="Arial" panose="020B0604020202020204" pitchFamily="34" charset="0"/>
              <a:buChar char="•"/>
            </a:pPr>
            <a:r>
              <a:rPr lang="de-DE" dirty="0"/>
              <a:t>Di, 21.05. Vorlesungsfrei: Dienstag nach Pfingsten</a:t>
            </a:r>
          </a:p>
          <a:p>
            <a:pPr marL="171450" indent="-171450">
              <a:buFont typeface="Arial" panose="020B0604020202020204" pitchFamily="34" charset="0"/>
              <a:buChar char="•"/>
            </a:pPr>
            <a:r>
              <a:rPr lang="de-DE" dirty="0"/>
              <a:t>Di, 04.06. keine Vorlesung, der Termin ist auf Montag, 10.06. verschoben worden (Daniel Buschek) -&gt; Gebäude AI, HS 34, Erdgeschoss</a:t>
            </a:r>
          </a:p>
          <a:p>
            <a:pPr marL="171450" indent="-171450">
              <a:buFont typeface="Arial" panose="020B0604020202020204" pitchFamily="34" charset="0"/>
              <a:buChar char="•"/>
            </a:pPr>
            <a:r>
              <a:rPr lang="de-DE" dirty="0"/>
              <a:t>(alle Termine stehen auch auf pa.uni-bayreuth.de und im eLearning-Kurs)</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Übung beginnt und endet um eine Woche versetzt zur Vorlesung und geht vom 23.04. bis 09.06.</a:t>
            </a:r>
          </a:p>
          <a:p>
            <a:pPr marL="171450" indent="-171450">
              <a:buFont typeface="Arial" panose="020B0604020202020204" pitchFamily="34" charset="0"/>
              <a:buChar char="•"/>
            </a:pPr>
            <a:r>
              <a:rPr lang="de-DE" dirty="0"/>
              <a:t>Praktische Übung schließt daran an und geht vom 10.06. bis zum 16.07.</a:t>
            </a:r>
          </a:p>
        </p:txBody>
      </p:sp>
      <p:sp>
        <p:nvSpPr>
          <p:cNvPr id="4" name="Foliennummernplatzhalter 3"/>
          <p:cNvSpPr>
            <a:spLocks noGrp="1"/>
          </p:cNvSpPr>
          <p:nvPr>
            <p:ph type="sldNum" sz="quarter" idx="5"/>
          </p:nvPr>
        </p:nvSpPr>
        <p:spPr/>
        <p:txBody>
          <a:bodyPr/>
          <a:lstStyle/>
          <a:p>
            <a:fld id="{53B5FC97-C987-4D73-85FB-29610C2F4C2A}" type="slidenum">
              <a:rPr lang="de-DE" smtClean="0"/>
              <a:t>11</a:t>
            </a:fld>
            <a:endParaRPr lang="de-DE"/>
          </a:p>
        </p:txBody>
      </p:sp>
    </p:spTree>
    <p:extLst>
      <p:ext uri="{BB962C8B-B14F-4D97-AF65-F5344CB8AC3E}">
        <p14:creationId xmlns:p14="http://schemas.microsoft.com/office/powerpoint/2010/main" val="312967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3B5FC97-C987-4D73-85FB-29610C2F4C2A}" type="slidenum">
              <a:rPr lang="de-DE" smtClean="0"/>
              <a:t>13</a:t>
            </a:fld>
            <a:endParaRPr lang="de-DE"/>
          </a:p>
        </p:txBody>
      </p:sp>
    </p:spTree>
    <p:extLst>
      <p:ext uri="{BB962C8B-B14F-4D97-AF65-F5344CB8AC3E}">
        <p14:creationId xmlns:p14="http://schemas.microsoft.com/office/powerpoint/2010/main" val="4936652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3B5FC97-C987-4D73-85FB-29610C2F4C2A}" type="slidenum">
              <a:rPr lang="de-DE" smtClean="0"/>
              <a:t>15</a:t>
            </a:fld>
            <a:endParaRPr lang="de-DE"/>
          </a:p>
        </p:txBody>
      </p:sp>
    </p:spTree>
    <p:extLst>
      <p:ext uri="{BB962C8B-B14F-4D97-AF65-F5344CB8AC3E}">
        <p14:creationId xmlns:p14="http://schemas.microsoft.com/office/powerpoint/2010/main" val="2111561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1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baseline="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baseline="0" err="1"/>
              <a:t>n.a.</a:t>
            </a:r>
            <a:endParaRPr lang="de-DE" sz="11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1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1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1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baseline="0" err="1"/>
              <a:t>n.a.</a:t>
            </a:r>
            <a:endParaRPr lang="de-DE" sz="11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1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10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100"/>
          </a:p>
          <a:p>
            <a:r>
              <a:rPr lang="de-DE" sz="1100">
                <a:hlinkClick r:id="rId3"/>
              </a:rPr>
              <a:t>https://www.nature.com/articles/nbt1205-1499</a:t>
            </a:r>
            <a:endParaRPr lang="de-DE" sz="11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1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100"/>
              <a:t>######## Feedback zur Überarbeitung</a:t>
            </a:r>
          </a:p>
          <a:p>
            <a:pPr marL="0" indent="0">
              <a:buFont typeface="Wingdings" panose="05000000000000000000" pitchFamily="2" charset="2"/>
              <a:buNone/>
            </a:pPr>
            <a:endParaRPr lang="en-US" sz="1100" baseline="0"/>
          </a:p>
          <a:p>
            <a:pPr marL="0" indent="0">
              <a:buFont typeface="Wingdings" panose="05000000000000000000" pitchFamily="2" charset="2"/>
              <a:buNone/>
            </a:pPr>
            <a:r>
              <a:rPr lang="en-US" sz="1100" baseline="0" err="1"/>
              <a:t>n.a.</a:t>
            </a:r>
            <a:endParaRPr lang="en-US" sz="1100" baseline="0"/>
          </a:p>
          <a:p>
            <a:endParaRPr lang="de-DE"/>
          </a:p>
        </p:txBody>
      </p:sp>
    </p:spTree>
    <p:extLst>
      <p:ext uri="{BB962C8B-B14F-4D97-AF65-F5344CB8AC3E}">
        <p14:creationId xmlns:p14="http://schemas.microsoft.com/office/powerpoint/2010/main" val="38447100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eaLnBrk="0" fontAlgn="base" latinLnBrk="0" hangingPunct="0">
              <a:lnSpc>
                <a:spcPct val="100000"/>
              </a:lnSpc>
              <a:spcBef>
                <a:spcPct val="30000"/>
              </a:spcBef>
              <a:spcAft>
                <a:spcPct val="0"/>
              </a:spcAft>
              <a:buClrTx/>
              <a:buSzTx/>
              <a:buFontTx/>
              <a:buNone/>
              <a:tabLst/>
              <a:defRPr/>
            </a:pPr>
            <a:r>
              <a:rPr lang="en-US" sz="1200"/>
              <a:t>######## </a:t>
            </a:r>
            <a:r>
              <a:rPr lang="en-US" sz="1200" err="1"/>
              <a:t>Inhaltliche</a:t>
            </a:r>
            <a:r>
              <a:rPr lang="en-US" sz="1200"/>
              <a:t> </a:t>
            </a:r>
            <a:r>
              <a:rPr lang="en-US" sz="1200" err="1"/>
              <a:t>Notizen</a:t>
            </a:r>
            <a:endParaRPr lang="en-US" sz="1200"/>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200"/>
          </a:p>
          <a:p>
            <a:pPr marL="0" indent="0">
              <a:buFont typeface="Wingdings" panose="05000000000000000000" pitchFamily="2" charset="2"/>
              <a:buNone/>
            </a:pPr>
            <a:r>
              <a:rPr lang="en-US" sz="1200" b="1"/>
              <a:t>4</a:t>
            </a:r>
            <a:r>
              <a:rPr lang="en-US" sz="1200" b="1" baseline="0"/>
              <a:t> Treiber für die </a:t>
            </a:r>
            <a:r>
              <a:rPr lang="en-US" sz="1200" b="1" baseline="0" err="1"/>
              <a:t>Anwendung</a:t>
            </a:r>
            <a:r>
              <a:rPr lang="en-US" sz="1200" b="1" baseline="0"/>
              <a:t> von KI</a:t>
            </a:r>
            <a:endParaRPr lang="en-US" sz="1200" b="1"/>
          </a:p>
          <a:p>
            <a:pPr marL="171450" indent="-171450">
              <a:buFont typeface="Wingdings" panose="05000000000000000000" pitchFamily="2" charset="2"/>
              <a:buChar char="§"/>
            </a:pPr>
            <a:r>
              <a:rPr lang="en-US" sz="1200" b="0"/>
              <a:t>Mehr (</a:t>
            </a:r>
            <a:r>
              <a:rPr lang="en-US" sz="1200" b="0" err="1"/>
              <a:t>verarbeitbare</a:t>
            </a:r>
            <a:r>
              <a:rPr lang="en-US" sz="1200" b="0"/>
              <a:t>)</a:t>
            </a:r>
            <a:r>
              <a:rPr lang="en-US" sz="1200" b="0" baseline="0"/>
              <a:t> </a:t>
            </a:r>
            <a:r>
              <a:rPr lang="en-US" sz="1200" b="0" err="1"/>
              <a:t>Daten</a:t>
            </a:r>
            <a:r>
              <a:rPr lang="en-US" sz="1200" b="0"/>
              <a:t> </a:t>
            </a:r>
            <a:r>
              <a:rPr lang="en-US" sz="1200" b="0" err="1"/>
              <a:t>zur</a:t>
            </a:r>
            <a:r>
              <a:rPr lang="en-US" sz="1200" b="0"/>
              <a:t> </a:t>
            </a:r>
            <a:r>
              <a:rPr lang="en-US" sz="1200" b="0" err="1"/>
              <a:t>Verfügung</a:t>
            </a:r>
            <a:r>
              <a:rPr lang="en-US" sz="1200" b="0"/>
              <a:t> (</a:t>
            </a:r>
            <a:r>
              <a:rPr lang="en-US" sz="1200" b="0" err="1"/>
              <a:t>z.B.</a:t>
            </a:r>
            <a:r>
              <a:rPr lang="en-US" sz="1200" b="0"/>
              <a:t> Big Data, </a:t>
            </a:r>
            <a:r>
              <a:rPr lang="en-US" sz="1200" b="0" err="1"/>
              <a:t>Sensorik</a:t>
            </a:r>
            <a:r>
              <a:rPr lang="en-US" sz="1200" b="0"/>
              <a:t>)</a:t>
            </a:r>
          </a:p>
          <a:p>
            <a:pPr marL="171450" indent="-171450">
              <a:buFont typeface="Wingdings" panose="05000000000000000000" pitchFamily="2" charset="2"/>
              <a:buChar char="§"/>
            </a:pPr>
            <a:r>
              <a:rPr lang="en-US" sz="1200" b="0" err="1"/>
              <a:t>Rechenleistung</a:t>
            </a:r>
            <a:r>
              <a:rPr lang="en-US" sz="1200" b="0"/>
              <a:t> </a:t>
            </a:r>
            <a:r>
              <a:rPr lang="en-US" sz="1200" b="0" err="1"/>
              <a:t>vorhanden</a:t>
            </a:r>
            <a:r>
              <a:rPr lang="en-US" sz="1200" b="0"/>
              <a:t> und flexible</a:t>
            </a:r>
            <a:r>
              <a:rPr lang="en-US" sz="1200" b="0" baseline="0"/>
              <a:t> </a:t>
            </a:r>
            <a:r>
              <a:rPr lang="en-US" sz="1200" b="0" baseline="0" err="1"/>
              <a:t>verfügbar</a:t>
            </a:r>
            <a:r>
              <a:rPr lang="en-US" sz="1200" b="0"/>
              <a:t> (1961: 1 GFLOP = 1 </a:t>
            </a:r>
            <a:r>
              <a:rPr lang="en-US" sz="1200" b="0" err="1"/>
              <a:t>Mrd</a:t>
            </a:r>
            <a:r>
              <a:rPr lang="en-US" sz="1200" b="0"/>
              <a:t>. </a:t>
            </a:r>
            <a:r>
              <a:rPr lang="en-US" sz="1200" b="0" err="1"/>
              <a:t>Rechenoperationen</a:t>
            </a:r>
            <a:r>
              <a:rPr lang="en-US" sz="1200" b="0"/>
              <a:t> pro </a:t>
            </a:r>
            <a:r>
              <a:rPr lang="en-US" sz="1200" b="0" err="1"/>
              <a:t>Sekunde</a:t>
            </a:r>
            <a:r>
              <a:rPr lang="en-US" sz="1200" b="0"/>
              <a:t>) </a:t>
            </a:r>
            <a:r>
              <a:rPr lang="en-US" sz="1200" b="0">
                <a:sym typeface="Wingdings" panose="05000000000000000000" pitchFamily="2" charset="2"/>
              </a:rPr>
              <a:t> 145 </a:t>
            </a:r>
            <a:r>
              <a:rPr lang="en-US" sz="1200" b="0" err="1">
                <a:sym typeface="Wingdings" panose="05000000000000000000" pitchFamily="2" charset="2"/>
              </a:rPr>
              <a:t>Milliarden</a:t>
            </a:r>
            <a:r>
              <a:rPr lang="en-US" sz="1200" b="0">
                <a:sym typeface="Wingdings" panose="05000000000000000000" pitchFamily="2" charset="2"/>
              </a:rPr>
              <a:t> US$ vs. </a:t>
            </a:r>
            <a:r>
              <a:rPr lang="en-US" sz="1200">
                <a:solidFill>
                  <a:srgbClr val="222222"/>
                </a:solidFill>
                <a:latin typeface="Open Sans"/>
              </a:rPr>
              <a:t>2017: 1 GFLOP </a:t>
            </a:r>
            <a:r>
              <a:rPr lang="en-US" sz="1200">
                <a:solidFill>
                  <a:srgbClr val="222222"/>
                </a:solidFill>
                <a:latin typeface="Open Sans"/>
                <a:sym typeface="Wingdings" panose="05000000000000000000" pitchFamily="2" charset="2"/>
              </a:rPr>
              <a:t></a:t>
            </a:r>
            <a:r>
              <a:rPr lang="en-US" sz="1200">
                <a:solidFill>
                  <a:srgbClr val="222222"/>
                </a:solidFill>
                <a:latin typeface="Open Sans"/>
              </a:rPr>
              <a:t> 3 Cent)</a:t>
            </a:r>
          </a:p>
          <a:p>
            <a:pPr marL="171450" indent="-171450">
              <a:buFont typeface="Wingdings" panose="05000000000000000000" pitchFamily="2" charset="2"/>
              <a:buChar char="§"/>
            </a:pPr>
            <a:r>
              <a:rPr lang="en-US" sz="1200" b="0" i="0">
                <a:solidFill>
                  <a:srgbClr val="222222"/>
                </a:solidFill>
                <a:effectLst/>
                <a:latin typeface="Open Sans"/>
              </a:rPr>
              <a:t>Die </a:t>
            </a:r>
            <a:r>
              <a:rPr lang="en-US" sz="1200" b="0" i="0" err="1">
                <a:solidFill>
                  <a:srgbClr val="222222"/>
                </a:solidFill>
                <a:effectLst/>
                <a:latin typeface="Open Sans"/>
              </a:rPr>
              <a:t>Leistung</a:t>
            </a:r>
            <a:r>
              <a:rPr lang="en-US" sz="1200" b="0" i="0">
                <a:solidFill>
                  <a:srgbClr val="222222"/>
                </a:solidFill>
                <a:effectLst/>
                <a:latin typeface="Open Sans"/>
              </a:rPr>
              <a:t> von Deep-Learning </a:t>
            </a:r>
            <a:r>
              <a:rPr lang="en-US" sz="1200" b="0" i="0" err="1">
                <a:solidFill>
                  <a:srgbClr val="222222"/>
                </a:solidFill>
                <a:effectLst/>
                <a:latin typeface="Open Sans"/>
              </a:rPr>
              <a:t>Algorithmen</a:t>
            </a:r>
            <a:r>
              <a:rPr lang="en-US" sz="1200" b="0" i="0">
                <a:solidFill>
                  <a:srgbClr val="222222"/>
                </a:solidFill>
                <a:effectLst/>
                <a:latin typeface="Open Sans"/>
              </a:rPr>
              <a:t> hat </a:t>
            </a:r>
            <a:r>
              <a:rPr lang="en-US" sz="1200" b="0" i="0" err="1">
                <a:solidFill>
                  <a:srgbClr val="222222"/>
                </a:solidFill>
                <a:effectLst/>
                <a:latin typeface="Open Sans"/>
              </a:rPr>
              <a:t>sich</a:t>
            </a:r>
            <a:r>
              <a:rPr lang="en-US" sz="1200" b="0" i="0">
                <a:solidFill>
                  <a:srgbClr val="222222"/>
                </a:solidFill>
                <a:effectLst/>
                <a:latin typeface="Open Sans"/>
              </a:rPr>
              <a:t> in den </a:t>
            </a:r>
            <a:r>
              <a:rPr lang="en-US" sz="1200" b="0" i="0" err="1">
                <a:solidFill>
                  <a:srgbClr val="222222"/>
                </a:solidFill>
                <a:effectLst/>
                <a:latin typeface="Open Sans"/>
              </a:rPr>
              <a:t>vergangenen</a:t>
            </a:r>
            <a:r>
              <a:rPr lang="en-US" sz="1200" b="0" i="0">
                <a:solidFill>
                  <a:srgbClr val="222222"/>
                </a:solidFill>
                <a:effectLst/>
                <a:latin typeface="Open Sans"/>
              </a:rPr>
              <a:t> Jahren</a:t>
            </a:r>
            <a:r>
              <a:rPr lang="en-US" sz="1200" b="0" i="0" baseline="0">
                <a:solidFill>
                  <a:srgbClr val="222222"/>
                </a:solidFill>
                <a:effectLst/>
                <a:latin typeface="Open Sans"/>
              </a:rPr>
              <a:t> </a:t>
            </a:r>
            <a:r>
              <a:rPr lang="en-US" sz="1200" b="0" i="0" err="1">
                <a:solidFill>
                  <a:srgbClr val="222222"/>
                </a:solidFill>
                <a:effectLst/>
                <a:latin typeface="Open Sans"/>
              </a:rPr>
              <a:t>verbessert</a:t>
            </a:r>
            <a:endParaRPr lang="en-US" sz="1200" b="0" i="0">
              <a:solidFill>
                <a:srgbClr val="222222"/>
              </a:solidFill>
              <a:effectLst/>
              <a:latin typeface="Open Sans"/>
            </a:endParaRPr>
          </a:p>
          <a:p>
            <a:pPr marL="171450" indent="-171450">
              <a:buFont typeface="Wingdings" panose="05000000000000000000" pitchFamily="2" charset="2"/>
              <a:buChar char="§"/>
            </a:pPr>
            <a:r>
              <a:rPr lang="en-US" sz="1200" b="0" i="0" err="1">
                <a:solidFill>
                  <a:srgbClr val="222222"/>
                </a:solidFill>
                <a:effectLst/>
                <a:latin typeface="Open Sans"/>
              </a:rPr>
              <a:t>Viele</a:t>
            </a:r>
            <a:r>
              <a:rPr lang="en-US" sz="1200" b="0" i="0" baseline="0">
                <a:solidFill>
                  <a:srgbClr val="222222"/>
                </a:solidFill>
                <a:effectLst/>
                <a:latin typeface="Open Sans"/>
              </a:rPr>
              <a:t> (Open-</a:t>
            </a:r>
            <a:r>
              <a:rPr lang="en-US" sz="1200" b="0" i="0" baseline="0" err="1">
                <a:solidFill>
                  <a:srgbClr val="222222"/>
                </a:solidFill>
                <a:effectLst/>
                <a:latin typeface="Open Sans"/>
              </a:rPr>
              <a:t>Souce</a:t>
            </a:r>
            <a:r>
              <a:rPr lang="en-US" sz="1200" b="0" i="0" baseline="0">
                <a:solidFill>
                  <a:srgbClr val="222222"/>
                </a:solidFill>
                <a:effectLst/>
                <a:latin typeface="Open Sans"/>
              </a:rPr>
              <a:t>-)Toolkits und </a:t>
            </a:r>
            <a:r>
              <a:rPr lang="en-US" sz="1200" b="0" i="0" baseline="0" err="1">
                <a:solidFill>
                  <a:srgbClr val="222222"/>
                </a:solidFill>
                <a:effectLst/>
                <a:latin typeface="Open Sans"/>
              </a:rPr>
              <a:t>Bibliotheken</a:t>
            </a:r>
            <a:endParaRPr lang="en-US" sz="1200" b="0" i="0" baseline="0">
              <a:solidFill>
                <a:srgbClr val="222222"/>
              </a:solidFill>
              <a:effectLst/>
              <a:latin typeface="Open Sans"/>
            </a:endParaRPr>
          </a:p>
          <a:p>
            <a:pPr marL="608716" lvl="1" indent="-171450">
              <a:buFont typeface="Wingdings" panose="05000000000000000000" pitchFamily="2" charset="2"/>
              <a:buChar char="§"/>
            </a:pPr>
            <a:r>
              <a:rPr lang="en-US" sz="1200" b="0" i="0" baseline="0">
                <a:solidFill>
                  <a:srgbClr val="222222"/>
                </a:solidFill>
                <a:effectLst/>
                <a:latin typeface="Open Sans"/>
              </a:rPr>
              <a:t>MS ML.NET 0.9 / ONNX Runtime</a:t>
            </a:r>
          </a:p>
          <a:p>
            <a:pPr marL="608716" lvl="1" indent="-171450">
              <a:buFont typeface="Wingdings" panose="05000000000000000000" pitchFamily="2" charset="2"/>
              <a:buChar char="§"/>
            </a:pPr>
            <a:r>
              <a:rPr lang="en-US" sz="1200" b="0" i="0" baseline="0" err="1">
                <a:solidFill>
                  <a:srgbClr val="222222"/>
                </a:solidFill>
                <a:effectLst/>
                <a:latin typeface="Open Sans"/>
              </a:rPr>
              <a:t>PyTorch</a:t>
            </a:r>
            <a:endParaRPr lang="en-US" sz="1200" b="0" i="0" baseline="0">
              <a:solidFill>
                <a:srgbClr val="222222"/>
              </a:solidFill>
              <a:effectLst/>
              <a:latin typeface="Open Sans"/>
            </a:endParaRPr>
          </a:p>
          <a:p>
            <a:pPr marL="608716" lvl="1" indent="-171450">
              <a:buFont typeface="Wingdings" panose="05000000000000000000" pitchFamily="2" charset="2"/>
              <a:buChar char="§"/>
            </a:pPr>
            <a:r>
              <a:rPr lang="en-US" sz="1200" b="0" i="0" baseline="0" err="1">
                <a:solidFill>
                  <a:srgbClr val="222222"/>
                </a:solidFill>
                <a:effectLst/>
                <a:latin typeface="Open Sans"/>
              </a:rPr>
              <a:t>TensorFLow</a:t>
            </a:r>
            <a:r>
              <a:rPr lang="en-US" sz="1200" b="0" i="0" baseline="0">
                <a:solidFill>
                  <a:srgbClr val="222222"/>
                </a:solidFill>
                <a:effectLst/>
                <a:latin typeface="Open Sans"/>
              </a:rPr>
              <a:t> 2.0 (including </a:t>
            </a:r>
            <a:r>
              <a:rPr lang="en-US" sz="1200" b="0" i="0" baseline="0" err="1">
                <a:solidFill>
                  <a:srgbClr val="222222"/>
                </a:solidFill>
                <a:effectLst/>
                <a:latin typeface="Open Sans"/>
              </a:rPr>
              <a:t>Keras</a:t>
            </a:r>
            <a:r>
              <a:rPr lang="en-US" sz="1200" b="0" i="0" baseline="0">
                <a:solidFill>
                  <a:srgbClr val="222222"/>
                </a:solidFill>
                <a:effectLst/>
                <a:latin typeface="Open Sans"/>
              </a:rPr>
              <a:t>)</a:t>
            </a:r>
          </a:p>
          <a:p>
            <a:pPr marL="608716" lvl="1" indent="-171450">
              <a:buFont typeface="Wingdings" panose="05000000000000000000" pitchFamily="2" charset="2"/>
              <a:buChar char="§"/>
            </a:pPr>
            <a:r>
              <a:rPr lang="en-US" sz="1200" b="0" i="0" baseline="0">
                <a:solidFill>
                  <a:srgbClr val="222222"/>
                </a:solidFill>
                <a:effectLst/>
                <a:latin typeface="Open Sans"/>
              </a:rPr>
              <a:t>Azure Cognitive Services</a:t>
            </a:r>
            <a:endParaRPr lang="en-US" sz="1200" b="0" i="0">
              <a:solidFill>
                <a:srgbClr val="222222"/>
              </a:solidFill>
              <a:effectLst/>
              <a:latin typeface="Open Sans"/>
            </a:endParaRPr>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200"/>
          </a:p>
          <a:p>
            <a:pPr marL="0" marR="0" lvl="0" indent="0" algn="l" defTabSz="914400" eaLnBrk="0" fontAlgn="base" latinLnBrk="0" hangingPunct="0">
              <a:lnSpc>
                <a:spcPct val="100000"/>
              </a:lnSpc>
              <a:spcBef>
                <a:spcPct val="30000"/>
              </a:spcBef>
              <a:spcAft>
                <a:spcPct val="0"/>
              </a:spcAft>
              <a:buClrTx/>
              <a:buSzTx/>
              <a:buFontTx/>
              <a:buNone/>
              <a:tabLst/>
              <a:defRPr/>
            </a:pPr>
            <a:r>
              <a:rPr lang="en-US" sz="1200"/>
              <a:t>######## </a:t>
            </a:r>
            <a:r>
              <a:rPr lang="en-US" sz="1200" err="1"/>
              <a:t>Vortragshinweise</a:t>
            </a:r>
            <a:endParaRPr lang="en-US" sz="1200"/>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200"/>
          </a:p>
          <a:p>
            <a:pPr marL="0" marR="0" lvl="0" indent="0" algn="l" defTabSz="914400" eaLnBrk="0" fontAlgn="base" latinLnBrk="0" hangingPunct="0">
              <a:lnSpc>
                <a:spcPct val="100000"/>
              </a:lnSpc>
              <a:spcBef>
                <a:spcPct val="30000"/>
              </a:spcBef>
              <a:spcAft>
                <a:spcPct val="0"/>
              </a:spcAft>
              <a:buClrTx/>
              <a:buSzTx/>
              <a:buFontTx/>
              <a:buNone/>
              <a:tabLst/>
              <a:defRPr/>
            </a:pPr>
            <a:r>
              <a:rPr lang="en-US" sz="1200" b="1"/>
              <a:t>Story:</a:t>
            </a:r>
            <a:r>
              <a:rPr lang="en-US" sz="1200" b="1" baseline="0"/>
              <a:t> </a:t>
            </a:r>
          </a:p>
          <a:p>
            <a:pPr marL="0" marR="0" lvl="0" indent="0" algn="l" defTabSz="914400" eaLnBrk="0" fontAlgn="base" latinLnBrk="0" hangingPunct="0">
              <a:lnSpc>
                <a:spcPct val="100000"/>
              </a:lnSpc>
              <a:spcBef>
                <a:spcPct val="30000"/>
              </a:spcBef>
              <a:spcAft>
                <a:spcPct val="0"/>
              </a:spcAft>
              <a:buClrTx/>
              <a:buSzTx/>
              <a:buFontTx/>
              <a:buNone/>
              <a:tabLst/>
              <a:defRPr/>
            </a:pPr>
            <a:r>
              <a:rPr lang="en-US" sz="1200" kern="1200" err="1">
                <a:solidFill>
                  <a:schemeClr val="tx1"/>
                </a:solidFill>
                <a:latin typeface="Trebuchet MS" pitchFamily="34" charset="0"/>
                <a:ea typeface="+mn-ea"/>
                <a:cs typeface="+mn-cs"/>
              </a:rPr>
              <a:t>Neben</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technischen</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Herausforderungen</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sind</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vor</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allem</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organisationalen</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Herausforderungen</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zu</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adressieren</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nicht</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zu</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unterschätzen</a:t>
            </a:r>
            <a:r>
              <a:rPr lang="en-US" sz="1200" kern="1200">
                <a:solidFill>
                  <a:schemeClr val="tx1"/>
                </a:solidFill>
                <a:latin typeface="Trebuchet MS" pitchFamily="34" charset="0"/>
                <a:ea typeface="+mn-ea"/>
                <a:cs typeface="+mn-cs"/>
              </a:rPr>
              <a:t>), um </a:t>
            </a:r>
            <a:r>
              <a:rPr lang="en-US" sz="1200" kern="1200" err="1">
                <a:solidFill>
                  <a:schemeClr val="tx1"/>
                </a:solidFill>
                <a:latin typeface="Trebuchet MS" pitchFamily="34" charset="0"/>
                <a:ea typeface="+mn-ea"/>
                <a:cs typeface="+mn-cs"/>
              </a:rPr>
              <a:t>Erfolgreich</a:t>
            </a:r>
            <a:r>
              <a:rPr lang="en-US" sz="1200" kern="1200">
                <a:solidFill>
                  <a:schemeClr val="tx1"/>
                </a:solidFill>
                <a:latin typeface="Trebuchet MS" pitchFamily="34" charset="0"/>
                <a:ea typeface="+mn-ea"/>
                <a:cs typeface="+mn-cs"/>
              </a:rPr>
              <a:t> die </a:t>
            </a:r>
            <a:r>
              <a:rPr lang="en-US" sz="1200" kern="1200" err="1">
                <a:solidFill>
                  <a:schemeClr val="tx1"/>
                </a:solidFill>
                <a:latin typeface="Trebuchet MS" pitchFamily="34" charset="0"/>
                <a:ea typeface="+mn-ea"/>
                <a:cs typeface="+mn-cs"/>
              </a:rPr>
              <a:t>Hürden</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zur</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Anwendung</a:t>
            </a:r>
            <a:r>
              <a:rPr lang="en-US" sz="1200" kern="1200">
                <a:solidFill>
                  <a:schemeClr val="tx1"/>
                </a:solidFill>
                <a:latin typeface="Trebuchet MS" pitchFamily="34" charset="0"/>
                <a:ea typeface="+mn-ea"/>
                <a:cs typeface="+mn-cs"/>
              </a:rPr>
              <a:t> von KI </a:t>
            </a:r>
            <a:r>
              <a:rPr lang="en-US" sz="1200" kern="1200" err="1">
                <a:solidFill>
                  <a:schemeClr val="tx1"/>
                </a:solidFill>
                <a:latin typeface="Trebuchet MS" pitchFamily="34" charset="0"/>
                <a:ea typeface="+mn-ea"/>
                <a:cs typeface="+mn-cs"/>
              </a:rPr>
              <a:t>im</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Unternehmen</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zu</a:t>
            </a:r>
            <a:r>
              <a:rPr lang="en-US" sz="1200" kern="1200">
                <a:solidFill>
                  <a:schemeClr val="tx1"/>
                </a:solidFill>
                <a:latin typeface="Trebuchet MS" pitchFamily="34" charset="0"/>
                <a:ea typeface="+mn-ea"/>
                <a:cs typeface="+mn-cs"/>
              </a:rPr>
              <a:t> </a:t>
            </a:r>
            <a:r>
              <a:rPr lang="en-US" sz="1200" kern="1200" err="1">
                <a:solidFill>
                  <a:schemeClr val="tx1"/>
                </a:solidFill>
                <a:latin typeface="Trebuchet MS" pitchFamily="34" charset="0"/>
                <a:ea typeface="+mn-ea"/>
                <a:cs typeface="+mn-cs"/>
              </a:rPr>
              <a:t>meistern</a:t>
            </a:r>
            <a:r>
              <a:rPr lang="en-US" sz="1200" kern="1200">
                <a:solidFill>
                  <a:schemeClr val="tx1"/>
                </a:solidFill>
                <a:latin typeface="Trebuchet MS" pitchFamily="34" charset="0"/>
                <a:ea typeface="+mn-ea"/>
                <a:cs typeface="+mn-cs"/>
              </a:rPr>
              <a:t>. </a:t>
            </a:r>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200"/>
          </a:p>
          <a:p>
            <a:pPr marL="0" marR="0" lvl="0" indent="0" algn="l" defTabSz="914400" eaLnBrk="0" fontAlgn="base" latinLnBrk="0" hangingPunct="0">
              <a:lnSpc>
                <a:spcPct val="100000"/>
              </a:lnSpc>
              <a:spcBef>
                <a:spcPct val="30000"/>
              </a:spcBef>
              <a:spcAft>
                <a:spcPct val="0"/>
              </a:spcAft>
              <a:buClrTx/>
              <a:buSzTx/>
              <a:buFontTx/>
              <a:buNone/>
              <a:tabLst/>
              <a:defRPr/>
            </a:pPr>
            <a:r>
              <a:rPr lang="en-US" sz="1200"/>
              <a:t>######## </a:t>
            </a:r>
            <a:r>
              <a:rPr lang="en-US" sz="1200" err="1"/>
              <a:t>Quellenhinweise</a:t>
            </a:r>
            <a:endParaRPr lang="en-US" sz="1200"/>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200"/>
          </a:p>
          <a:p>
            <a:pPr marL="0" marR="0" lvl="0" indent="0" algn="l" defTabSz="914400" eaLnBrk="0" fontAlgn="base" latinLnBrk="0" hangingPunct="0">
              <a:lnSpc>
                <a:spcPct val="100000"/>
              </a:lnSpc>
              <a:spcBef>
                <a:spcPct val="30000"/>
              </a:spcBef>
              <a:spcAft>
                <a:spcPct val="0"/>
              </a:spcAft>
              <a:buClrTx/>
              <a:buSzTx/>
              <a:buFontTx/>
              <a:buNone/>
              <a:tabLst/>
              <a:defRPr/>
            </a:pPr>
            <a:r>
              <a:rPr lang="en-US" sz="1200" baseline="0" err="1"/>
              <a:t>n.a.</a:t>
            </a:r>
            <a:endParaRPr lang="en-US" sz="1200"/>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200"/>
          </a:p>
          <a:p>
            <a:pPr marL="0" marR="0" lvl="0" indent="0" algn="l" defTabSz="914400" eaLnBrk="0" fontAlgn="base" latinLnBrk="0" hangingPunct="0">
              <a:lnSpc>
                <a:spcPct val="100000"/>
              </a:lnSpc>
              <a:spcBef>
                <a:spcPct val="30000"/>
              </a:spcBef>
              <a:spcAft>
                <a:spcPct val="0"/>
              </a:spcAft>
              <a:buClrTx/>
              <a:buSzTx/>
              <a:buFontTx/>
              <a:buNone/>
              <a:tabLst/>
              <a:defRPr/>
            </a:pPr>
            <a:r>
              <a:rPr lang="en-US" sz="1200"/>
              <a:t>######## Feedback </a:t>
            </a:r>
            <a:r>
              <a:rPr lang="en-US" sz="1200" err="1"/>
              <a:t>zur</a:t>
            </a:r>
            <a:r>
              <a:rPr lang="en-US" sz="1200"/>
              <a:t> </a:t>
            </a:r>
            <a:r>
              <a:rPr lang="en-US" sz="1200" err="1"/>
              <a:t>Überarbeitung</a:t>
            </a:r>
            <a:endParaRPr lang="en-US" sz="1200"/>
          </a:p>
          <a:p>
            <a:pPr marL="0" indent="0">
              <a:buFont typeface="Wingdings" panose="05000000000000000000" pitchFamily="2" charset="2"/>
              <a:buNone/>
            </a:pPr>
            <a:endParaRPr lang="en-US" sz="1200" baseline="0"/>
          </a:p>
          <a:p>
            <a:pPr marL="0" indent="0">
              <a:buFont typeface="Wingdings" panose="05000000000000000000" pitchFamily="2" charset="2"/>
              <a:buNone/>
            </a:pPr>
            <a:r>
              <a:rPr lang="en-US" sz="1200" baseline="0" err="1"/>
              <a:t>n.a.</a:t>
            </a:r>
            <a:endParaRPr lang="en-US" sz="1200" baseline="0"/>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200" baseline="0"/>
          </a:p>
        </p:txBody>
      </p:sp>
    </p:spTree>
    <p:extLst>
      <p:ext uri="{BB962C8B-B14F-4D97-AF65-F5344CB8AC3E}">
        <p14:creationId xmlns:p14="http://schemas.microsoft.com/office/powerpoint/2010/main" val="37469593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dirty="0"/>
          </a:p>
          <a:p>
            <a:pPr algn="l"/>
            <a:r>
              <a:rPr lang="de-DE" b="1" i="0" dirty="0">
                <a:solidFill>
                  <a:srgbClr val="374151"/>
                </a:solidFill>
                <a:effectLst/>
                <a:latin typeface="Söhne"/>
              </a:rPr>
              <a:t>Rechenleistung</a:t>
            </a:r>
            <a:r>
              <a:rPr lang="de-DE" b="0" i="0" dirty="0">
                <a:solidFill>
                  <a:srgbClr val="374151"/>
                </a:solidFill>
                <a:effectLst/>
                <a:latin typeface="Söhne"/>
              </a:rPr>
              <a:t>: LLMs wie GPT-4 benötigen enorme Rechenleistung, sowohl für das Training als auch für den Einsatz. Die Rechenressourcen und die damit verbundenen Kosten können für viele Organisationen und Einzelpersonen einschränkend sein und die Zugänglichkeit der Technologie begrenzen.</a:t>
            </a:r>
          </a:p>
          <a:p>
            <a:pPr algn="l"/>
            <a:endParaRPr lang="de-DE" b="0" i="0" dirty="0">
              <a:solidFill>
                <a:srgbClr val="374151"/>
              </a:solidFill>
              <a:effectLst/>
              <a:latin typeface="Söhne"/>
            </a:endParaRPr>
          </a:p>
          <a:p>
            <a:pPr algn="l"/>
            <a:r>
              <a:rPr lang="de-DE" b="1" i="0" dirty="0">
                <a:solidFill>
                  <a:srgbClr val="374151"/>
                </a:solidFill>
                <a:effectLst/>
                <a:latin typeface="Söhne"/>
              </a:rPr>
              <a:t>Datenqualität: </a:t>
            </a:r>
            <a:r>
              <a:rPr lang="de-DE" b="0" i="0" dirty="0">
                <a:solidFill>
                  <a:srgbClr val="374151"/>
                </a:solidFill>
                <a:effectLst/>
                <a:latin typeface="Söhne"/>
              </a:rPr>
              <a:t>Die Qualität der Trainingsdaten beeinflusst die Leistung und Genauigkeit von LLMs. Ungenaue, veraltete oder irreführende Daten können zu schlechteren Ergebnissen und fehlerhaften Informationen führen, die von den Modellen generiert werden.</a:t>
            </a:r>
          </a:p>
          <a:p>
            <a:pPr algn="l"/>
            <a:endParaRPr lang="de-DE" b="0" i="0" dirty="0">
              <a:solidFill>
                <a:srgbClr val="374151"/>
              </a:solidFill>
              <a:effectLst/>
              <a:latin typeface="Söhne"/>
            </a:endParaRPr>
          </a:p>
          <a:p>
            <a:pPr algn="l"/>
            <a:r>
              <a:rPr lang="de-DE" b="1" i="0" dirty="0">
                <a:solidFill>
                  <a:srgbClr val="374151"/>
                </a:solidFill>
                <a:effectLst/>
                <a:latin typeface="Söhne"/>
              </a:rPr>
              <a:t>Datenbestand: </a:t>
            </a:r>
            <a:r>
              <a:rPr lang="de-DE" b="0" i="0" dirty="0">
                <a:solidFill>
                  <a:srgbClr val="374151"/>
                </a:solidFill>
                <a:effectLst/>
                <a:latin typeface="Söhne"/>
              </a:rPr>
              <a:t>Die Menge und Vielfalt der Trainingsdaten bestimmen, wie gut ein LLM bestimmte Themen und Kontexte abdecken kann. Ein begrenzter Datenbestand kann dazu führen, dass das Modell Schwierigkeiten hat, auf bestimmte Anfragen angemessen zu reagieren oder weniger bekannte Themen zu behandeln.</a:t>
            </a:r>
          </a:p>
          <a:p>
            <a:pPr algn="l"/>
            <a:endParaRPr lang="de-DE" b="0" i="0" dirty="0">
              <a:solidFill>
                <a:srgbClr val="374151"/>
              </a:solidFill>
              <a:effectLst/>
              <a:latin typeface="Söhne"/>
            </a:endParaRPr>
          </a:p>
          <a:p>
            <a:pPr algn="l"/>
            <a:r>
              <a:rPr lang="de-DE" b="1" i="0" dirty="0">
                <a:solidFill>
                  <a:srgbClr val="374151"/>
                </a:solidFill>
                <a:effectLst/>
                <a:latin typeface="Söhne"/>
              </a:rPr>
              <a:t>Halluzinationen: </a:t>
            </a:r>
            <a:r>
              <a:rPr lang="de-DE" b="0" i="0" dirty="0">
                <a:solidFill>
                  <a:srgbClr val="374151"/>
                </a:solidFill>
                <a:effectLst/>
                <a:latin typeface="Söhne"/>
              </a:rPr>
              <a:t>LLMs können falsche oder irreführende Informationen generieren, die nicht auf tatsächlichen Fakten oder Daten basieren. Diese "Halluzinationen" können die Zuverlässigkeit der Modelle beeinträchtigen und die Qualität der Antworten, die sie liefern, verringern.</a:t>
            </a:r>
          </a:p>
          <a:p>
            <a:pPr algn="l"/>
            <a:endParaRPr lang="de-DE" b="0" i="0" dirty="0">
              <a:solidFill>
                <a:srgbClr val="374151"/>
              </a:solidFill>
              <a:effectLst/>
              <a:latin typeface="Söhne"/>
            </a:endParaRPr>
          </a:p>
          <a:p>
            <a:pPr algn="l"/>
            <a:r>
              <a:rPr lang="de-DE" b="1" i="0" dirty="0">
                <a:solidFill>
                  <a:srgbClr val="374151"/>
                </a:solidFill>
                <a:effectLst/>
                <a:latin typeface="Söhne"/>
              </a:rPr>
              <a:t>Bias: </a:t>
            </a:r>
            <a:r>
              <a:rPr lang="de-DE" b="0" i="0" dirty="0">
                <a:solidFill>
                  <a:srgbClr val="374151"/>
                </a:solidFill>
                <a:effectLst/>
                <a:latin typeface="Söhne"/>
              </a:rPr>
              <a:t>LLMs können verschiedene Arten von Bias aufweisen, die aus ihren Trainingsdaten stammen. Solche </a:t>
            </a:r>
            <a:r>
              <a:rPr lang="de-DE" b="0" i="0" dirty="0" err="1">
                <a:solidFill>
                  <a:srgbClr val="374151"/>
                </a:solidFill>
                <a:effectLst/>
                <a:latin typeface="Söhne"/>
              </a:rPr>
              <a:t>Voreingenommenheiten</a:t>
            </a:r>
            <a:r>
              <a:rPr lang="de-DE" b="0" i="0" dirty="0">
                <a:solidFill>
                  <a:srgbClr val="374151"/>
                </a:solidFill>
                <a:effectLst/>
                <a:latin typeface="Söhne"/>
              </a:rPr>
              <a:t> können sich in den Antworten widerspiegeln, die das Modell generiert, und zu Diskriminierung oder unfairen Darstellungen führen.</a:t>
            </a:r>
          </a:p>
          <a:p>
            <a:pPr algn="l"/>
            <a:endParaRPr lang="de-DE" b="0" i="0" dirty="0">
              <a:solidFill>
                <a:srgbClr val="374151"/>
              </a:solidFill>
              <a:effectLst/>
              <a:latin typeface="Söhne"/>
            </a:endParaRPr>
          </a:p>
          <a:p>
            <a:pPr algn="l"/>
            <a:r>
              <a:rPr lang="de-DE" b="1" i="0" dirty="0">
                <a:solidFill>
                  <a:srgbClr val="374151"/>
                </a:solidFill>
                <a:effectLst/>
                <a:latin typeface="Söhne"/>
              </a:rPr>
              <a:t>Datenschutz und Datensicherheit: </a:t>
            </a:r>
            <a:r>
              <a:rPr lang="de-DE" b="0" i="0" dirty="0">
                <a:solidFill>
                  <a:srgbClr val="374151"/>
                </a:solidFill>
                <a:effectLst/>
                <a:latin typeface="Söhne"/>
              </a:rPr>
              <a:t>Da LLMs auf großen Mengen an Texten aus dem Internet trainiert werden, können sie versehentlich persönliche oder vertrauliche Informationen enthalten. Datenschutz und Datensicherheit sind daher wichtige Anliegen bei der Verwendung und Weiterentwicklung von LLMs.</a:t>
            </a:r>
          </a:p>
          <a:p>
            <a:pPr algn="l"/>
            <a:endParaRPr lang="de-DE" b="0" i="0" dirty="0">
              <a:solidFill>
                <a:srgbClr val="374151"/>
              </a:solidFill>
              <a:effectLst/>
              <a:latin typeface="Söhne"/>
            </a:endParaRPr>
          </a:p>
          <a:p>
            <a:pPr algn="l"/>
            <a:r>
              <a:rPr lang="de-DE" b="1" i="0" dirty="0">
                <a:solidFill>
                  <a:srgbClr val="374151"/>
                </a:solidFill>
                <a:effectLst/>
                <a:latin typeface="Söhne"/>
              </a:rPr>
              <a:t>Fehlende Quellenangaben: </a:t>
            </a:r>
            <a:r>
              <a:rPr lang="de-DE" b="0" i="0" dirty="0">
                <a:solidFill>
                  <a:srgbClr val="374151"/>
                </a:solidFill>
                <a:effectLst/>
                <a:latin typeface="Söhne"/>
              </a:rPr>
              <a:t>LLMs liefern in der Regel keine Quellenangaben für die Informationen, die sie generieren. Dies kann es schwierig machen, die Richtigkeit und Zuverlässigkeit der bereitgestellten Antworten zu überprüfen.</a:t>
            </a:r>
          </a:p>
          <a:p>
            <a:pPr algn="l"/>
            <a:endParaRPr lang="de-DE" b="0" i="0" dirty="0">
              <a:solidFill>
                <a:srgbClr val="374151"/>
              </a:solidFill>
              <a:effectLst/>
              <a:latin typeface="Söhne"/>
            </a:endParaRPr>
          </a:p>
          <a:p>
            <a:pPr algn="l"/>
            <a:r>
              <a:rPr lang="de-DE" b="1" i="0" dirty="0">
                <a:solidFill>
                  <a:srgbClr val="374151"/>
                </a:solidFill>
                <a:effectLst/>
                <a:latin typeface="Söhne"/>
              </a:rPr>
              <a:t>Fehlende Zitierwürdigkeit: </a:t>
            </a:r>
            <a:r>
              <a:rPr lang="de-DE" b="0" i="0" dirty="0">
                <a:solidFill>
                  <a:srgbClr val="374151"/>
                </a:solidFill>
                <a:effectLst/>
                <a:latin typeface="Söhne"/>
              </a:rPr>
              <a:t>Aufgrund der fehlenden Quellenangaben, der Möglichkeit von Halluzinationen, sowie der Generierung unterschiedlicher Outputs  sind LLMs nicht unbedingt zitierwürdig. LLMs sind stochastisch - es gibt keine Garantie, dass ein LLM jedes Mal die gleiche Ausgabe für die gleiche Eingabe liefert. Nutzer sollten vorsichtig sein, wenn sie Informationen aus LLMs verwenden, und zusätzliche Recherchen durchführen, um die Richtigkeit und Glaubwürdigkeit der Antworten zu überprüf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dirty="0" err="1"/>
              <a:t>n.a.</a:t>
            </a: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i="0" dirty="0">
                <a:ea typeface="+mn-lt"/>
                <a:cs typeface="+mn-lt"/>
              </a:rPr>
              <a:t>https://www.dbsystel.de/resource/blob/10372378/bc7c882c57e69eeb2cee72812a139be4/Download-Digital-Trend-Impuls-ChatGPT-data.pdf</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https://arxiv.org/pdf/2303.16104.pdf</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Feedback zur Überarbeitung</a:t>
            </a:r>
          </a:p>
          <a:p>
            <a:pPr marL="0" indent="0">
              <a:buFont typeface="Wingdings" panose="05000000000000000000" pitchFamily="2" charset="2"/>
              <a:buNone/>
            </a:pPr>
            <a:endParaRPr lang="en-US" sz="1200" baseline="0" dirty="0"/>
          </a:p>
          <a:p>
            <a:pPr marL="0" indent="0">
              <a:buFont typeface="Wingdings" panose="05000000000000000000" pitchFamily="2" charset="2"/>
              <a:buNone/>
            </a:pPr>
            <a:r>
              <a:rPr lang="en-US" sz="1200" baseline="0" dirty="0" err="1"/>
              <a:t>n.a.</a:t>
            </a:r>
            <a:endParaRPr lang="en-US" sz="1200" baseline="0" dirty="0"/>
          </a:p>
          <a:p>
            <a:endParaRPr lang="de-DE" dirty="0"/>
          </a:p>
        </p:txBody>
      </p:sp>
      <p:sp>
        <p:nvSpPr>
          <p:cNvPr id="4" name="Slide Number Placeholder 3"/>
          <p:cNvSpPr>
            <a:spLocks noGrp="1"/>
          </p:cNvSpPr>
          <p:nvPr>
            <p:ph type="sldNum" sz="quarter" idx="10"/>
          </p:nvPr>
        </p:nvSpPr>
        <p:spPr/>
        <p:txBody>
          <a:bodyPr/>
          <a:lstStyle/>
          <a:p>
            <a:fld id="{B4A55CF2-256D-44FD-9430-5B63A079CF51}" type="slidenum">
              <a:rPr lang="de-DE" smtClean="0"/>
              <a:t>18</a:t>
            </a:fld>
            <a:endParaRPr lang="de-DE"/>
          </a:p>
        </p:txBody>
      </p:sp>
    </p:spTree>
    <p:extLst>
      <p:ext uri="{BB962C8B-B14F-4D97-AF65-F5344CB8AC3E}">
        <p14:creationId xmlns:p14="http://schemas.microsoft.com/office/powerpoint/2010/main" val="33618166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www.pa.uni-bayreuth.de/"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194823"/>
            <a:ext cx="12192000" cy="1905"/>
          </a:xfrm>
          <a:custGeom>
            <a:avLst/>
            <a:gdLst/>
            <a:ahLst/>
            <a:cxnLst/>
            <a:rect l="l" t="t" r="r" b="b"/>
            <a:pathLst>
              <a:path w="9906000" h="1905">
                <a:moveTo>
                  <a:pt x="9906000" y="1524"/>
                </a:moveTo>
                <a:lnTo>
                  <a:pt x="0" y="0"/>
                </a:lnTo>
              </a:path>
            </a:pathLst>
          </a:custGeom>
          <a:ln w="9144">
            <a:solidFill>
              <a:srgbClr val="000000"/>
            </a:solidFill>
          </a:ln>
        </p:spPr>
        <p:txBody>
          <a:bodyPr wrap="square" lIns="0" tIns="0" rIns="0" bIns="0" rtlCol="0"/>
          <a:lstStyle/>
          <a:p>
            <a:endParaRPr sz="1800"/>
          </a:p>
        </p:txBody>
      </p:sp>
      <p:sp>
        <p:nvSpPr>
          <p:cNvPr id="17" name="bk object 17"/>
          <p:cNvSpPr/>
          <p:nvPr/>
        </p:nvSpPr>
        <p:spPr>
          <a:xfrm>
            <a:off x="4" y="6496811"/>
            <a:ext cx="12186529" cy="0"/>
          </a:xfrm>
          <a:custGeom>
            <a:avLst/>
            <a:gdLst/>
            <a:ahLst/>
            <a:cxnLst/>
            <a:rect l="l" t="t" r="r" b="b"/>
            <a:pathLst>
              <a:path w="9901555">
                <a:moveTo>
                  <a:pt x="9901428" y="0"/>
                </a:moveTo>
                <a:lnTo>
                  <a:pt x="0" y="0"/>
                </a:lnTo>
              </a:path>
            </a:pathLst>
          </a:custGeom>
          <a:ln w="9144">
            <a:solidFill>
              <a:srgbClr val="000000"/>
            </a:solidFill>
          </a:ln>
        </p:spPr>
        <p:txBody>
          <a:bodyPr wrap="square" lIns="0" tIns="0" rIns="0" bIns="0" rtlCol="0"/>
          <a:lstStyle/>
          <a:p>
            <a:endParaRPr sz="1800"/>
          </a:p>
        </p:txBody>
      </p:sp>
      <p:sp>
        <p:nvSpPr>
          <p:cNvPr id="3" name="Holder 3"/>
          <p:cNvSpPr>
            <a:spLocks noGrp="1"/>
          </p:cNvSpPr>
          <p:nvPr>
            <p:ph type="subTitle" idx="4"/>
          </p:nvPr>
        </p:nvSpPr>
        <p:spPr>
          <a:xfrm>
            <a:off x="191445" y="829590"/>
            <a:ext cx="8534400" cy="276999"/>
          </a:xfrm>
          <a:prstGeom prst="rect">
            <a:avLst/>
          </a:prstGeom>
        </p:spPr>
        <p:txBody>
          <a:bodyPr wrap="square" lIns="0" tIns="0" rIns="0" bIns="0">
            <a:spAutoFit/>
          </a:bodyPr>
          <a:lstStyle>
            <a:lvl1pPr>
              <a:defRPr>
                <a:solidFill>
                  <a:srgbClr val="03895E"/>
                </a:solidFill>
              </a:defRPr>
            </a:lvl1pPr>
          </a:lstStyle>
          <a:p>
            <a:endParaRPr dirty="0"/>
          </a:p>
        </p:txBody>
      </p:sp>
      <p:sp>
        <p:nvSpPr>
          <p:cNvPr id="10" name="Holder 6">
            <a:extLst>
              <a:ext uri="{FF2B5EF4-FFF2-40B4-BE49-F238E27FC236}">
                <a16:creationId xmlns:a16="http://schemas.microsoft.com/office/drawing/2014/main" id="{DBF61907-0AFF-4A5B-A8B5-F2B48FF5D032}"/>
              </a:ext>
            </a:extLst>
          </p:cNvPr>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 Generative KI</a:t>
            </a:r>
          </a:p>
        </p:txBody>
      </p:sp>
      <p:sp>
        <p:nvSpPr>
          <p:cNvPr id="11" name="bk object 17">
            <a:extLst>
              <a:ext uri="{FF2B5EF4-FFF2-40B4-BE49-F238E27FC236}">
                <a16:creationId xmlns:a16="http://schemas.microsoft.com/office/drawing/2014/main" id="{CB064C63-33FB-46BB-B5A6-D5CEBF028B2A}"/>
              </a:ext>
            </a:extLst>
          </p:cNvPr>
          <p:cNvSpPr/>
          <p:nvPr userDrawn="1"/>
        </p:nvSpPr>
        <p:spPr>
          <a:xfrm>
            <a:off x="11071898" y="108145"/>
            <a:ext cx="983971" cy="989958"/>
          </a:xfrm>
          <a:prstGeom prst="rect">
            <a:avLst/>
          </a:prstGeom>
          <a:blipFill>
            <a:blip r:embed="rId2" cstate="print"/>
            <a:stretch>
              <a:fillRect/>
            </a:stretch>
          </a:blipFill>
        </p:spPr>
        <p:txBody>
          <a:bodyPr wrap="square" lIns="0" tIns="0" rIns="0" bIns="0" rtlCol="0"/>
          <a:lstStyle/>
          <a:p>
            <a:endParaRPr sz="1800"/>
          </a:p>
        </p:txBody>
      </p:sp>
      <p:sp>
        <p:nvSpPr>
          <p:cNvPr id="9" name="Holder 4">
            <a:extLst>
              <a:ext uri="{FF2B5EF4-FFF2-40B4-BE49-F238E27FC236}">
                <a16:creationId xmlns:a16="http://schemas.microsoft.com/office/drawing/2014/main" id="{749E786D-5B85-4869-838E-AE9195CDEF03}"/>
              </a:ext>
            </a:extLst>
          </p:cNvPr>
          <p:cNvSpPr>
            <a:spLocks noGrp="1"/>
          </p:cNvSpPr>
          <p:nvPr>
            <p:ph type="ftr" sz="quarter" idx="5"/>
          </p:nvPr>
        </p:nvSpPr>
        <p:spPr>
          <a:xfrm>
            <a:off x="10144212" y="6593532"/>
            <a:ext cx="1855372" cy="176972"/>
          </a:xfrm>
          <a:prstGeom prst="rect">
            <a:avLst/>
          </a:prstGeo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
        <p:nvSpPr>
          <p:cNvPr id="12" name="Holder 2">
            <a:extLst>
              <a:ext uri="{FF2B5EF4-FFF2-40B4-BE49-F238E27FC236}">
                <a16:creationId xmlns:a16="http://schemas.microsoft.com/office/drawing/2014/main" id="{1BBB5A25-F7F2-4B17-BA74-4F027C75032D}"/>
              </a:ext>
            </a:extLst>
          </p:cNvPr>
          <p:cNvSpPr>
            <a:spLocks noGrp="1"/>
          </p:cNvSpPr>
          <p:nvPr>
            <p:ph type="title"/>
          </p:nvPr>
        </p:nvSpPr>
        <p:spPr>
          <a:xfrm>
            <a:off x="191445" y="397840"/>
            <a:ext cx="10705155" cy="369332"/>
          </a:xfrm>
        </p:spPr>
        <p:txBody>
          <a:bodyPr lIns="0" tIns="0" rIns="0" bIns="0"/>
          <a:lstStyle>
            <a:lvl1pPr>
              <a:defRPr sz="2400" b="1" i="0">
                <a:solidFill>
                  <a:srgbClr val="03895E"/>
                </a:solidFill>
                <a:latin typeface="Trebuchet MS"/>
                <a:cs typeface="Trebuchet MS"/>
              </a:defRPr>
            </a:lvl1pPr>
          </a:lstStyle>
          <a:p>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Inhalt_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FAA6B5-141F-44B5-A6D7-591287D25944}"/>
              </a:ext>
            </a:extLst>
          </p:cNvPr>
          <p:cNvSpPr>
            <a:spLocks noGrp="1"/>
          </p:cNvSpPr>
          <p:nvPr>
            <p:ph type="title" hasCustomPrompt="1"/>
          </p:nvPr>
        </p:nvSpPr>
        <p:spPr/>
        <p:txBody>
          <a:bodyPr/>
          <a:lstStyle>
            <a:lvl1pPr>
              <a:defRPr/>
            </a:lvl1pPr>
          </a:lstStyle>
          <a:p>
            <a:r>
              <a:rPr lang="de-DE" err="1"/>
              <a:t>Inhalt_Inhalt</a:t>
            </a:r>
            <a:endParaRPr lang="en-US"/>
          </a:p>
        </p:txBody>
      </p:sp>
      <p:sp>
        <p:nvSpPr>
          <p:cNvPr id="3" name="Datumsplatzhalter 2">
            <a:extLst>
              <a:ext uri="{FF2B5EF4-FFF2-40B4-BE49-F238E27FC236}">
                <a16:creationId xmlns:a16="http://schemas.microsoft.com/office/drawing/2014/main" id="{EC9A54B5-3EC0-4E62-8E65-8B53A9175ED7}"/>
              </a:ext>
            </a:extLst>
          </p:cNvPr>
          <p:cNvSpPr>
            <a:spLocks noGrp="1"/>
          </p:cNvSpPr>
          <p:nvPr>
            <p:ph type="dt" sz="half" idx="10"/>
          </p:nvPr>
        </p:nvSpPr>
        <p:spPr/>
        <p:txBody>
          <a:bodyPr/>
          <a:lstStyle/>
          <a:p>
            <a:r>
              <a:rPr lang="de-DE" dirty="0"/>
              <a:t>14.10.2022</a:t>
            </a:r>
            <a:endParaRPr lang="en-US" dirty="0"/>
          </a:p>
        </p:txBody>
      </p:sp>
      <p:sp>
        <p:nvSpPr>
          <p:cNvPr id="5" name="Foliennummernplatzhalter 4">
            <a:extLst>
              <a:ext uri="{FF2B5EF4-FFF2-40B4-BE49-F238E27FC236}">
                <a16:creationId xmlns:a16="http://schemas.microsoft.com/office/drawing/2014/main" id="{986950EE-5D2D-4DBE-B2BC-428939E6EAC4}"/>
              </a:ext>
            </a:extLst>
          </p:cNvPr>
          <p:cNvSpPr>
            <a:spLocks noGrp="1"/>
          </p:cNvSpPr>
          <p:nvPr>
            <p:ph type="sldNum" sz="quarter" idx="12"/>
          </p:nvPr>
        </p:nvSpPr>
        <p:spPr>
          <a:xfrm>
            <a:off x="11334063" y="6584720"/>
            <a:ext cx="304800" cy="139606"/>
          </a:xfrm>
        </p:spPr>
        <p:txBody>
          <a:bodyPr/>
          <a:lstStyle/>
          <a:p>
            <a:fld id="{64647E8F-5052-4581-98D0-7C32D5A45346}" type="slidenum">
              <a:rPr lang="en-US" smtClean="0"/>
              <a:pPr/>
              <a:t>‹Nr.›</a:t>
            </a:fld>
            <a:endParaRPr lang="en-US"/>
          </a:p>
        </p:txBody>
      </p:sp>
      <p:sp>
        <p:nvSpPr>
          <p:cNvPr id="8" name="Inhaltsplatzhalter 7">
            <a:extLst>
              <a:ext uri="{FF2B5EF4-FFF2-40B4-BE49-F238E27FC236}">
                <a16:creationId xmlns:a16="http://schemas.microsoft.com/office/drawing/2014/main" id="{9463866B-AFBB-4230-8C80-95837FE8A2EE}"/>
              </a:ext>
            </a:extLst>
          </p:cNvPr>
          <p:cNvSpPr>
            <a:spLocks noGrp="1"/>
          </p:cNvSpPr>
          <p:nvPr>
            <p:ph sz="quarter" idx="15"/>
          </p:nvPr>
        </p:nvSpPr>
        <p:spPr>
          <a:xfrm>
            <a:off x="550800" y="1449388"/>
            <a:ext cx="5315369" cy="450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Inhaltsplatzhalter 7">
            <a:extLst>
              <a:ext uri="{FF2B5EF4-FFF2-40B4-BE49-F238E27FC236}">
                <a16:creationId xmlns:a16="http://schemas.microsoft.com/office/drawing/2014/main" id="{CD8ACB48-ECD1-4E0E-9176-B1015FF608CD}"/>
              </a:ext>
            </a:extLst>
          </p:cNvPr>
          <p:cNvSpPr>
            <a:spLocks noGrp="1"/>
          </p:cNvSpPr>
          <p:nvPr>
            <p:ph sz="quarter" idx="16"/>
          </p:nvPr>
        </p:nvSpPr>
        <p:spPr>
          <a:xfrm>
            <a:off x="6322800" y="1449388"/>
            <a:ext cx="5316297" cy="450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1" name="Rechteck 10">
            <a:extLst>
              <a:ext uri="{FF2B5EF4-FFF2-40B4-BE49-F238E27FC236}">
                <a16:creationId xmlns:a16="http://schemas.microsoft.com/office/drawing/2014/main" id="{E66560C2-5920-4C2E-BC72-15DF7369FF97}"/>
              </a:ext>
            </a:extLst>
          </p:cNvPr>
          <p:cNvSpPr/>
          <p:nvPr userDrawn="1"/>
        </p:nvSpPr>
        <p:spPr>
          <a:xfrm>
            <a:off x="0" y="0"/>
            <a:ext cx="12192000" cy="68262"/>
          </a:xfrm>
          <a:prstGeom prst="rect">
            <a:avLst/>
          </a:prstGeom>
          <a:solidFill>
            <a:srgbClr val="00A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Inhaltsplatzhalter 7">
            <a:extLst>
              <a:ext uri="{FF2B5EF4-FFF2-40B4-BE49-F238E27FC236}">
                <a16:creationId xmlns:a16="http://schemas.microsoft.com/office/drawing/2014/main" id="{F58655A5-70C7-4367-AAA1-B83A6CE9116A}"/>
              </a:ext>
            </a:extLst>
          </p:cNvPr>
          <p:cNvSpPr>
            <a:spLocks noGrp="1"/>
          </p:cNvSpPr>
          <p:nvPr>
            <p:ph sz="quarter" idx="17" hasCustomPrompt="1"/>
          </p:nvPr>
        </p:nvSpPr>
        <p:spPr>
          <a:xfrm>
            <a:off x="6323494" y="6201000"/>
            <a:ext cx="5315369" cy="144000"/>
          </a:xfrm>
        </p:spPr>
        <p:txBody>
          <a:bodyPr anchor="b"/>
          <a:lstStyle>
            <a:lvl1pPr marL="0" indent="0" algn="r">
              <a:buNone/>
              <a:defRPr sz="1050" i="1">
                <a:solidFill>
                  <a:schemeClr val="accent2"/>
                </a:solidFill>
              </a:defRPr>
            </a:lvl1pPr>
            <a:lvl2pPr>
              <a:defRPr sz="1050">
                <a:solidFill>
                  <a:schemeClr val="accent2"/>
                </a:solidFill>
              </a:defRPr>
            </a:lvl2pPr>
            <a:lvl3pPr>
              <a:defRPr sz="1000">
                <a:solidFill>
                  <a:schemeClr val="accent2"/>
                </a:solidFill>
              </a:defRPr>
            </a:lvl3pPr>
          </a:lstStyle>
          <a:p>
            <a:pPr lvl="0"/>
            <a:r>
              <a:rPr lang="de-DE"/>
              <a:t>Quelle(n):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endParaRPr lang="de-DE"/>
          </a:p>
        </p:txBody>
      </p:sp>
      <p:sp>
        <p:nvSpPr>
          <p:cNvPr id="13" name="Inhaltsplatzhalter 7">
            <a:extLst>
              <a:ext uri="{FF2B5EF4-FFF2-40B4-BE49-F238E27FC236}">
                <a16:creationId xmlns:a16="http://schemas.microsoft.com/office/drawing/2014/main" id="{7D76AA35-8DAB-4C1E-90FE-82769E26E26E}"/>
              </a:ext>
            </a:extLst>
          </p:cNvPr>
          <p:cNvSpPr>
            <a:spLocks noGrp="1"/>
          </p:cNvSpPr>
          <p:nvPr>
            <p:ph sz="quarter" idx="18" hasCustomPrompt="1"/>
          </p:nvPr>
        </p:nvSpPr>
        <p:spPr>
          <a:xfrm>
            <a:off x="550800" y="6201481"/>
            <a:ext cx="5315369" cy="144007"/>
          </a:xfrm>
        </p:spPr>
        <p:txBody>
          <a:bodyPr anchor="b"/>
          <a:lstStyle>
            <a:lvl1pPr marL="0" indent="0" algn="r">
              <a:buNone/>
              <a:defRPr sz="1050" i="1">
                <a:solidFill>
                  <a:schemeClr val="accent2"/>
                </a:solidFill>
              </a:defRPr>
            </a:lvl1pPr>
            <a:lvl2pPr>
              <a:defRPr sz="1050">
                <a:solidFill>
                  <a:schemeClr val="accent2"/>
                </a:solidFill>
              </a:defRPr>
            </a:lvl2pPr>
            <a:lvl3pPr>
              <a:defRPr sz="1000">
                <a:solidFill>
                  <a:schemeClr val="accent2"/>
                </a:solidFill>
              </a:defRPr>
            </a:lvl3pPr>
          </a:lstStyle>
          <a:p>
            <a:pPr lvl="0"/>
            <a:r>
              <a:rPr lang="de-DE"/>
              <a:t>Quelle(n):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endParaRPr lang="de-DE"/>
          </a:p>
        </p:txBody>
      </p:sp>
      <p:sp>
        <p:nvSpPr>
          <p:cNvPr id="14" name="Fußzeilenplatzhalter 12">
            <a:extLst>
              <a:ext uri="{FF2B5EF4-FFF2-40B4-BE49-F238E27FC236}">
                <a16:creationId xmlns:a16="http://schemas.microsoft.com/office/drawing/2014/main" id="{AAC0AC73-51CB-4A63-A064-121C7E121B59}"/>
              </a:ext>
            </a:extLst>
          </p:cNvPr>
          <p:cNvSpPr>
            <a:spLocks noGrp="1"/>
          </p:cNvSpPr>
          <p:nvPr>
            <p:ph type="ftr" sz="quarter" idx="3"/>
          </p:nvPr>
        </p:nvSpPr>
        <p:spPr>
          <a:xfrm>
            <a:off x="1566986" y="6584720"/>
            <a:ext cx="9058033" cy="139606"/>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accent2"/>
                </a:solidFill>
              </a:defRPr>
            </a:lvl1pPr>
          </a:lstStyle>
          <a:p>
            <a:pPr>
              <a:defRPr/>
            </a:pPr>
            <a:r>
              <a:rPr lang="de-DE" dirty="0">
                <a:solidFill>
                  <a:srgbClr val="8C8C8C"/>
                </a:solidFill>
              </a:rPr>
              <a:t> </a:t>
            </a:r>
            <a:r>
              <a:rPr lang="de-DE" dirty="0" err="1">
                <a:solidFill>
                  <a:srgbClr val="8C8C8C"/>
                </a:solidFill>
              </a:rPr>
              <a:t>Process</a:t>
            </a:r>
            <a:r>
              <a:rPr lang="de-DE" dirty="0">
                <a:solidFill>
                  <a:srgbClr val="8C8C8C"/>
                </a:solidFill>
              </a:rPr>
              <a:t>-Mining für interdisziplinäre Anwendungen</a:t>
            </a:r>
            <a:endParaRPr lang="en-US" sz="800" dirty="0">
              <a:solidFill>
                <a:srgbClr val="8C8C8C"/>
              </a:solidFill>
            </a:endParaRPr>
          </a:p>
        </p:txBody>
      </p:sp>
    </p:spTree>
    <p:extLst>
      <p:ext uri="{BB962C8B-B14F-4D97-AF65-F5344CB8AC3E}">
        <p14:creationId xmlns:p14="http://schemas.microsoft.com/office/powerpoint/2010/main" val="3350274184"/>
      </p:ext>
    </p:extLst>
  </p:cSld>
  <p:clrMapOvr>
    <a:masterClrMapping/>
  </p:clrMapOvr>
  <p:extLst>
    <p:ext uri="{DCECCB84-F9BA-43D5-87BE-67443E8EF086}">
      <p15:sldGuideLst xmlns:p15="http://schemas.microsoft.com/office/powerpoint/2012/main">
        <p15:guide id="1" orient="horz" pos="370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Inhalt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nchor="b"/>
          <a:lstStyle>
            <a:lvl1pPr>
              <a:defRPr/>
            </a:lvl1pPr>
          </a:lstStyle>
          <a:p>
            <a:r>
              <a:rPr lang="de-DE"/>
              <a:t>Mastertitelformat bearbeiten</a:t>
            </a:r>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0801" y="1449388"/>
            <a:ext cx="11088000" cy="45005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0"/>
            <a:ext cx="12192000" cy="68262"/>
          </a:xfrm>
          <a:prstGeom prst="rect">
            <a:avLst/>
          </a:prstGeom>
          <a:solidFill>
            <a:srgbClr val="00A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Fußzeilenplatzhalter 6">
            <a:extLst>
              <a:ext uri="{FF2B5EF4-FFF2-40B4-BE49-F238E27FC236}">
                <a16:creationId xmlns:a16="http://schemas.microsoft.com/office/drawing/2014/main" id="{E33A1810-26F1-B35B-CE28-4A692444E8C1}"/>
              </a:ext>
            </a:extLst>
          </p:cNvPr>
          <p:cNvSpPr>
            <a:spLocks noGrp="1"/>
          </p:cNvSpPr>
          <p:nvPr>
            <p:ph type="ftr" sz="quarter" idx="3"/>
          </p:nvPr>
        </p:nvSpPr>
        <p:spPr>
          <a:xfrm>
            <a:off x="1566986" y="6584720"/>
            <a:ext cx="9058033" cy="13960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solidFill>
                  <a:srgbClr val="889194"/>
                </a:solidFill>
              </a:rPr>
              <a:t>ABBA | Yorck Zisgen </a:t>
            </a:r>
            <a:endParaRPr kumimoji="0" lang="en-US" sz="900" b="0" i="0" u="none" strike="noStrike" kern="1200" cap="none" spc="0" normalizeH="0" baseline="0" noProof="0" dirty="0">
              <a:ln>
                <a:noFill/>
              </a:ln>
              <a:solidFill>
                <a:srgbClr val="889194"/>
              </a:solidFill>
              <a:effectLst/>
              <a:uLnTx/>
              <a:uFillTx/>
              <a:latin typeface="Trebuchet MS"/>
              <a:ea typeface="+mn-ea"/>
              <a:cs typeface="+mn-cs"/>
            </a:endParaRPr>
          </a:p>
        </p:txBody>
      </p:sp>
      <p:sp>
        <p:nvSpPr>
          <p:cNvPr id="13" name="Datumsplatzhalter 2">
            <a:extLst>
              <a:ext uri="{FF2B5EF4-FFF2-40B4-BE49-F238E27FC236}">
                <a16:creationId xmlns:a16="http://schemas.microsoft.com/office/drawing/2014/main" id="{42BCCDED-97AC-517E-09B4-B496215BDBDB}"/>
              </a:ext>
            </a:extLst>
          </p:cNvPr>
          <p:cNvSpPr>
            <a:spLocks noGrp="1"/>
          </p:cNvSpPr>
          <p:nvPr>
            <p:ph type="dt" sz="half" idx="10"/>
          </p:nvPr>
        </p:nvSpPr>
        <p:spPr>
          <a:xfrm>
            <a:off x="550800" y="6584720"/>
            <a:ext cx="777407" cy="139606"/>
          </a:xfrm>
        </p:spPr>
        <p:txBody>
          <a:bodyPr/>
          <a:lstStyle/>
          <a:p>
            <a:fld id="{BE85EDBB-A499-4B24-8D79-F65A42287419}" type="datetime1">
              <a:rPr lang="de-DE" smtClean="0"/>
              <a:t>12.04.2024</a:t>
            </a:fld>
            <a:endParaRPr lang="en-US"/>
          </a:p>
        </p:txBody>
      </p:sp>
      <p:sp>
        <p:nvSpPr>
          <p:cNvPr id="14" name="Foliennummernplatzhalter 3">
            <a:extLst>
              <a:ext uri="{FF2B5EF4-FFF2-40B4-BE49-F238E27FC236}">
                <a16:creationId xmlns:a16="http://schemas.microsoft.com/office/drawing/2014/main" id="{3D971E23-0016-80AA-F6CF-D473B1C42029}"/>
              </a:ext>
            </a:extLst>
          </p:cNvPr>
          <p:cNvSpPr>
            <a:spLocks noGrp="1"/>
          </p:cNvSpPr>
          <p:nvPr>
            <p:ph type="sldNum" sz="quarter" idx="12"/>
          </p:nvPr>
        </p:nvSpPr>
        <p:spPr>
          <a:xfrm>
            <a:off x="11334000" y="6584720"/>
            <a:ext cx="304800" cy="139606"/>
          </a:xfrm>
        </p:spPr>
        <p:txBody>
          <a:bodyPr/>
          <a:lstStyle/>
          <a:p>
            <a:fld id="{64647E8F-5052-4581-98D0-7C32D5A45346}" type="slidenum">
              <a:rPr lang="en-US" smtClean="0"/>
              <a:pPr/>
              <a:t>‹Nr.›</a:t>
            </a:fld>
            <a:endParaRPr lang="en-US"/>
          </a:p>
        </p:txBody>
      </p:sp>
    </p:spTree>
    <p:extLst>
      <p:ext uri="{BB962C8B-B14F-4D97-AF65-F5344CB8AC3E}">
        <p14:creationId xmlns:p14="http://schemas.microsoft.com/office/powerpoint/2010/main" val="1117738905"/>
      </p:ext>
    </p:extLst>
  </p:cSld>
  <p:clrMapOvr>
    <a:masterClrMapping/>
  </p:clrMapOvr>
  <p:extLst>
    <p:ext uri="{DCECCB84-F9BA-43D5-87BE-67443E8EF086}">
      <p15:sldGuideLst xmlns:p15="http://schemas.microsoft.com/office/powerpoint/2012/main">
        <p15:guide id="1" orient="horz" pos="374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Inhalt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nchor="b"/>
          <a:lstStyle>
            <a:lvl1pPr>
              <a:defRPr/>
            </a:lvl1pPr>
          </a:lstStyle>
          <a:p>
            <a:r>
              <a:rPr lang="de-DE"/>
              <a:t>Mastertitelformat bearbeiten</a:t>
            </a:r>
            <a:endParaRPr lang="en-US"/>
          </a:p>
        </p:txBody>
      </p:sp>
      <p:sp>
        <p:nvSpPr>
          <p:cNvPr id="3" name="Datumsplatzhalter 2">
            <a:extLst>
              <a:ext uri="{FF2B5EF4-FFF2-40B4-BE49-F238E27FC236}">
                <a16:creationId xmlns:a16="http://schemas.microsoft.com/office/drawing/2014/main" id="{105C2E51-7D0B-4A4D-8DC1-79065BA725FE}"/>
              </a:ext>
            </a:extLst>
          </p:cNvPr>
          <p:cNvSpPr>
            <a:spLocks noGrp="1"/>
          </p:cNvSpPr>
          <p:nvPr>
            <p:ph type="dt" sz="half" idx="10"/>
          </p:nvPr>
        </p:nvSpPr>
        <p:spPr/>
        <p:txBody>
          <a:bodyPr/>
          <a:lstStyle/>
          <a:p>
            <a:r>
              <a:rPr lang="de-DE" dirty="0"/>
              <a:t>14.10.2022</a:t>
            </a:r>
            <a:endParaRPr lang="en-US" dirty="0"/>
          </a:p>
        </p:txBody>
      </p:sp>
      <p:sp>
        <p:nvSpPr>
          <p:cNvPr id="5" name="Foliennummernplatzhalter 4">
            <a:extLst>
              <a:ext uri="{FF2B5EF4-FFF2-40B4-BE49-F238E27FC236}">
                <a16:creationId xmlns:a16="http://schemas.microsoft.com/office/drawing/2014/main" id="{EF1DBF68-B110-47AE-81D0-1A1BB377BEAF}"/>
              </a:ext>
            </a:extLst>
          </p:cNvPr>
          <p:cNvSpPr>
            <a:spLocks noGrp="1"/>
          </p:cNvSpPr>
          <p:nvPr>
            <p:ph type="sldNum" sz="quarter" idx="12"/>
          </p:nvPr>
        </p:nvSpPr>
        <p:spPr/>
        <p:txBody>
          <a:bodyPr/>
          <a:lstStyle/>
          <a:p>
            <a:fld id="{64647E8F-5052-4581-98D0-7C32D5A45346}" type="slidenum">
              <a:rPr lang="en-US" smtClean="0"/>
              <a:pPr/>
              <a:t>‹Nr.›</a:t>
            </a:fld>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0801" y="1449388"/>
            <a:ext cx="11088000" cy="44275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0"/>
            <a:ext cx="12192000" cy="68262"/>
          </a:xfrm>
          <a:prstGeom prst="rect">
            <a:avLst/>
          </a:prstGeom>
          <a:solidFill>
            <a:srgbClr val="00A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ußzeilenplatzhalter 12">
            <a:extLst>
              <a:ext uri="{FF2B5EF4-FFF2-40B4-BE49-F238E27FC236}">
                <a16:creationId xmlns:a16="http://schemas.microsoft.com/office/drawing/2014/main" id="{783AA3FD-B3F6-4BCC-A437-23D9555B6486}"/>
              </a:ext>
            </a:extLst>
          </p:cNvPr>
          <p:cNvSpPr>
            <a:spLocks noGrp="1"/>
          </p:cNvSpPr>
          <p:nvPr>
            <p:ph type="ftr" sz="quarter" idx="3"/>
          </p:nvPr>
        </p:nvSpPr>
        <p:spPr>
          <a:xfrm>
            <a:off x="1566986" y="6584720"/>
            <a:ext cx="9058033" cy="139606"/>
          </a:xfrm>
          <a:prstGeom prst="rect">
            <a:avLst/>
          </a:prstGeom>
        </p:spPr>
        <p:txBody>
          <a:bodyPr vert="horz" lIns="0" tIns="0" rIns="0" bIns="0" rtlCol="0" anchor="ctr">
            <a:noAutofit/>
          </a:bodyPr>
          <a:lstStyle>
            <a:lvl1pPr algn="l">
              <a:defRPr sz="900">
                <a:solidFill>
                  <a:schemeClr val="accent2"/>
                </a:solidFill>
              </a:defRPr>
            </a:lvl1pPr>
          </a:lstStyle>
          <a:p>
            <a:pPr>
              <a:defRPr/>
            </a:pPr>
            <a:r>
              <a:rPr lang="de-DE" dirty="0">
                <a:solidFill>
                  <a:srgbClr val="8C8C8C"/>
                </a:solidFill>
              </a:rPr>
              <a:t> </a:t>
            </a:r>
            <a:r>
              <a:rPr lang="de-DE" dirty="0" err="1">
                <a:solidFill>
                  <a:srgbClr val="8C8C8C"/>
                </a:solidFill>
              </a:rPr>
              <a:t>Process</a:t>
            </a:r>
            <a:r>
              <a:rPr lang="de-DE" dirty="0">
                <a:solidFill>
                  <a:srgbClr val="8C8C8C"/>
                </a:solidFill>
              </a:rPr>
              <a:t>-Mining für interdisziplinäre Anwendungen</a:t>
            </a:r>
            <a:endParaRPr lang="en-US" dirty="0">
              <a:solidFill>
                <a:srgbClr val="8C8C8C"/>
              </a:solidFill>
            </a:endParaRPr>
          </a:p>
        </p:txBody>
      </p:sp>
      <p:sp>
        <p:nvSpPr>
          <p:cNvPr id="11" name="Inhaltsplatzhalter 7">
            <a:extLst>
              <a:ext uri="{FF2B5EF4-FFF2-40B4-BE49-F238E27FC236}">
                <a16:creationId xmlns:a16="http://schemas.microsoft.com/office/drawing/2014/main" id="{E2473E26-8325-4E87-9691-D050A7D7439E}"/>
              </a:ext>
            </a:extLst>
          </p:cNvPr>
          <p:cNvSpPr>
            <a:spLocks noGrp="1"/>
          </p:cNvSpPr>
          <p:nvPr>
            <p:ph sz="quarter" idx="17" hasCustomPrompt="1"/>
          </p:nvPr>
        </p:nvSpPr>
        <p:spPr>
          <a:xfrm>
            <a:off x="552000" y="6201000"/>
            <a:ext cx="11088000" cy="144006"/>
          </a:xfrm>
        </p:spPr>
        <p:txBody>
          <a:bodyPr anchor="b"/>
          <a:lstStyle>
            <a:lvl1pPr marL="0" indent="0" algn="r">
              <a:buNone/>
              <a:defRPr sz="1050" i="1">
                <a:solidFill>
                  <a:schemeClr val="accent2"/>
                </a:solidFill>
              </a:defRPr>
            </a:lvl1pPr>
            <a:lvl2pPr>
              <a:defRPr sz="1050">
                <a:solidFill>
                  <a:schemeClr val="accent2"/>
                </a:solidFill>
              </a:defRPr>
            </a:lvl2pPr>
            <a:lvl3pPr>
              <a:defRPr sz="1000">
                <a:solidFill>
                  <a:schemeClr val="accent2"/>
                </a:solidFill>
              </a:defRPr>
            </a:lvl3pPr>
          </a:lstStyle>
          <a:p>
            <a:pPr lvl="0"/>
            <a:r>
              <a:rPr lang="de-DE"/>
              <a:t>Quelle(n): Lorem ipsum dolor sit amet</a:t>
            </a:r>
          </a:p>
        </p:txBody>
      </p:sp>
    </p:spTree>
    <p:extLst>
      <p:ext uri="{BB962C8B-B14F-4D97-AF65-F5344CB8AC3E}">
        <p14:creationId xmlns:p14="http://schemas.microsoft.com/office/powerpoint/2010/main" val="1814079168"/>
      </p:ext>
    </p:extLst>
  </p:cSld>
  <p:clrMapOvr>
    <a:masterClrMapping/>
  </p:clrMapOvr>
  <p:extLst>
    <p:ext uri="{DCECCB84-F9BA-43D5-87BE-67443E8EF086}">
      <p15:sldGuideLst xmlns:p15="http://schemas.microsoft.com/office/powerpoint/2012/main">
        <p15:guide id="1" orient="horz" pos="370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Inhalt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nchor="b"/>
          <a:lstStyle>
            <a:lvl1pPr>
              <a:defRPr/>
            </a:lvl1pPr>
          </a:lstStyle>
          <a:p>
            <a:r>
              <a:rPr lang="de-DE"/>
              <a:t>Mastertitelformat bearbeiten</a:t>
            </a:r>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0801" y="1449388"/>
            <a:ext cx="11088000" cy="45005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0"/>
            <a:ext cx="12192000" cy="68262"/>
          </a:xfrm>
          <a:prstGeom prst="rect">
            <a:avLst/>
          </a:prstGeom>
          <a:solidFill>
            <a:srgbClr val="00A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Fußzeilenplatzhalter 6">
            <a:extLst>
              <a:ext uri="{FF2B5EF4-FFF2-40B4-BE49-F238E27FC236}">
                <a16:creationId xmlns:a16="http://schemas.microsoft.com/office/drawing/2014/main" id="{E33A1810-26F1-B35B-CE28-4A692444E8C1}"/>
              </a:ext>
            </a:extLst>
          </p:cNvPr>
          <p:cNvSpPr>
            <a:spLocks noGrp="1"/>
          </p:cNvSpPr>
          <p:nvPr>
            <p:ph type="ftr" sz="quarter" idx="3"/>
          </p:nvPr>
        </p:nvSpPr>
        <p:spPr>
          <a:xfrm>
            <a:off x="1566986" y="6584720"/>
            <a:ext cx="9058033" cy="13960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solidFill>
                  <a:srgbClr val="889194"/>
                </a:solidFill>
              </a:rPr>
              <a:t>ABBA | Yorck Zisgen </a:t>
            </a:r>
            <a:endParaRPr kumimoji="0" lang="en-US" sz="900" b="0" i="0" u="none" strike="noStrike" kern="1200" cap="none" spc="0" normalizeH="0" baseline="0" noProof="0" dirty="0">
              <a:ln>
                <a:noFill/>
              </a:ln>
              <a:solidFill>
                <a:srgbClr val="889194"/>
              </a:solidFill>
              <a:effectLst/>
              <a:uLnTx/>
              <a:uFillTx/>
              <a:latin typeface="Trebuchet MS"/>
              <a:ea typeface="+mn-ea"/>
              <a:cs typeface="+mn-cs"/>
            </a:endParaRPr>
          </a:p>
        </p:txBody>
      </p:sp>
      <p:sp>
        <p:nvSpPr>
          <p:cNvPr id="13" name="Datumsplatzhalter 2">
            <a:extLst>
              <a:ext uri="{FF2B5EF4-FFF2-40B4-BE49-F238E27FC236}">
                <a16:creationId xmlns:a16="http://schemas.microsoft.com/office/drawing/2014/main" id="{42BCCDED-97AC-517E-09B4-B496215BDBDB}"/>
              </a:ext>
            </a:extLst>
          </p:cNvPr>
          <p:cNvSpPr>
            <a:spLocks noGrp="1"/>
          </p:cNvSpPr>
          <p:nvPr>
            <p:ph type="dt" sz="half" idx="10"/>
          </p:nvPr>
        </p:nvSpPr>
        <p:spPr>
          <a:xfrm>
            <a:off x="550800" y="6584720"/>
            <a:ext cx="777407" cy="139606"/>
          </a:xfrm>
        </p:spPr>
        <p:txBody>
          <a:bodyPr/>
          <a:lstStyle/>
          <a:p>
            <a:fld id="{BE85EDBB-A499-4B24-8D79-F65A42287419}" type="datetime1">
              <a:rPr lang="de-DE" smtClean="0"/>
              <a:t>12.04.2024</a:t>
            </a:fld>
            <a:endParaRPr lang="en-US"/>
          </a:p>
        </p:txBody>
      </p:sp>
      <p:sp>
        <p:nvSpPr>
          <p:cNvPr id="14" name="Foliennummernplatzhalter 3">
            <a:extLst>
              <a:ext uri="{FF2B5EF4-FFF2-40B4-BE49-F238E27FC236}">
                <a16:creationId xmlns:a16="http://schemas.microsoft.com/office/drawing/2014/main" id="{3D971E23-0016-80AA-F6CF-D473B1C42029}"/>
              </a:ext>
            </a:extLst>
          </p:cNvPr>
          <p:cNvSpPr>
            <a:spLocks noGrp="1"/>
          </p:cNvSpPr>
          <p:nvPr>
            <p:ph type="sldNum" sz="quarter" idx="12"/>
          </p:nvPr>
        </p:nvSpPr>
        <p:spPr>
          <a:xfrm>
            <a:off x="11334000" y="6584720"/>
            <a:ext cx="304800" cy="139606"/>
          </a:xfrm>
        </p:spPr>
        <p:txBody>
          <a:bodyPr/>
          <a:lstStyle/>
          <a:p>
            <a:fld id="{64647E8F-5052-4581-98D0-7C32D5A45346}" type="slidenum">
              <a:rPr lang="en-US" smtClean="0"/>
              <a:pPr/>
              <a:t>‹Nr.›</a:t>
            </a:fld>
            <a:endParaRPr lang="en-US"/>
          </a:p>
        </p:txBody>
      </p:sp>
    </p:spTree>
    <p:extLst>
      <p:ext uri="{BB962C8B-B14F-4D97-AF65-F5344CB8AC3E}">
        <p14:creationId xmlns:p14="http://schemas.microsoft.com/office/powerpoint/2010/main" val="4019998439"/>
      </p:ext>
    </p:extLst>
  </p:cSld>
  <p:clrMapOvr>
    <a:masterClrMapping/>
  </p:clrMapOvr>
  <p:extLst>
    <p:ext uri="{DCECCB84-F9BA-43D5-87BE-67443E8EF086}">
      <p15:sldGuideLst xmlns:p15="http://schemas.microsoft.com/office/powerpoint/2012/main">
        <p15:guide id="1" orient="horz" pos="374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Inhalt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nchor="b"/>
          <a:lstStyle>
            <a:lvl1pPr>
              <a:defRPr/>
            </a:lvl1pPr>
          </a:lstStyle>
          <a:p>
            <a:r>
              <a:rPr lang="de-DE"/>
              <a:t>Mastertitelformat bearbeiten</a:t>
            </a:r>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0801" y="1449388"/>
            <a:ext cx="11088000" cy="45005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0"/>
            <a:ext cx="12192000" cy="68262"/>
          </a:xfrm>
          <a:prstGeom prst="rect">
            <a:avLst/>
          </a:prstGeom>
          <a:solidFill>
            <a:srgbClr val="00A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Fußzeilenplatzhalter 6">
            <a:extLst>
              <a:ext uri="{FF2B5EF4-FFF2-40B4-BE49-F238E27FC236}">
                <a16:creationId xmlns:a16="http://schemas.microsoft.com/office/drawing/2014/main" id="{E33A1810-26F1-B35B-CE28-4A692444E8C1}"/>
              </a:ext>
            </a:extLst>
          </p:cNvPr>
          <p:cNvSpPr>
            <a:spLocks noGrp="1"/>
          </p:cNvSpPr>
          <p:nvPr>
            <p:ph type="ftr" sz="quarter" idx="3"/>
          </p:nvPr>
        </p:nvSpPr>
        <p:spPr>
          <a:xfrm>
            <a:off x="1566986" y="6584720"/>
            <a:ext cx="9058033" cy="13960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solidFill>
                  <a:srgbClr val="889194"/>
                </a:solidFill>
              </a:rPr>
              <a:t>ABBA | Yorck Zisgen </a:t>
            </a:r>
            <a:endParaRPr kumimoji="0" lang="en-US" sz="900" b="0" i="0" u="none" strike="noStrike" kern="1200" cap="none" spc="0" normalizeH="0" baseline="0" noProof="0" dirty="0">
              <a:ln>
                <a:noFill/>
              </a:ln>
              <a:solidFill>
                <a:srgbClr val="889194"/>
              </a:solidFill>
              <a:effectLst/>
              <a:uLnTx/>
              <a:uFillTx/>
              <a:latin typeface="Trebuchet MS"/>
              <a:ea typeface="+mn-ea"/>
              <a:cs typeface="+mn-cs"/>
            </a:endParaRPr>
          </a:p>
        </p:txBody>
      </p:sp>
      <p:sp>
        <p:nvSpPr>
          <p:cNvPr id="13" name="Datumsplatzhalter 2">
            <a:extLst>
              <a:ext uri="{FF2B5EF4-FFF2-40B4-BE49-F238E27FC236}">
                <a16:creationId xmlns:a16="http://schemas.microsoft.com/office/drawing/2014/main" id="{42BCCDED-97AC-517E-09B4-B496215BDBDB}"/>
              </a:ext>
            </a:extLst>
          </p:cNvPr>
          <p:cNvSpPr>
            <a:spLocks noGrp="1"/>
          </p:cNvSpPr>
          <p:nvPr>
            <p:ph type="dt" sz="half" idx="10"/>
          </p:nvPr>
        </p:nvSpPr>
        <p:spPr>
          <a:xfrm>
            <a:off x="550800" y="6584720"/>
            <a:ext cx="777407" cy="139606"/>
          </a:xfrm>
        </p:spPr>
        <p:txBody>
          <a:bodyPr/>
          <a:lstStyle/>
          <a:p>
            <a:fld id="{BE85EDBB-A499-4B24-8D79-F65A42287419}" type="datetime1">
              <a:rPr lang="de-DE" smtClean="0"/>
              <a:t>12.04.2024</a:t>
            </a:fld>
            <a:endParaRPr lang="en-US"/>
          </a:p>
        </p:txBody>
      </p:sp>
      <p:sp>
        <p:nvSpPr>
          <p:cNvPr id="14" name="Foliennummernplatzhalter 3">
            <a:extLst>
              <a:ext uri="{FF2B5EF4-FFF2-40B4-BE49-F238E27FC236}">
                <a16:creationId xmlns:a16="http://schemas.microsoft.com/office/drawing/2014/main" id="{3D971E23-0016-80AA-F6CF-D473B1C42029}"/>
              </a:ext>
            </a:extLst>
          </p:cNvPr>
          <p:cNvSpPr>
            <a:spLocks noGrp="1"/>
          </p:cNvSpPr>
          <p:nvPr>
            <p:ph type="sldNum" sz="quarter" idx="12"/>
          </p:nvPr>
        </p:nvSpPr>
        <p:spPr>
          <a:xfrm>
            <a:off x="11334000" y="6584720"/>
            <a:ext cx="304800" cy="139606"/>
          </a:xfrm>
        </p:spPr>
        <p:txBody>
          <a:bodyPr/>
          <a:lstStyle/>
          <a:p>
            <a:fld id="{64647E8F-5052-4581-98D0-7C32D5A45346}" type="slidenum">
              <a:rPr lang="en-US" smtClean="0"/>
              <a:pPr/>
              <a:t>‹Nr.›</a:t>
            </a:fld>
            <a:endParaRPr lang="en-US"/>
          </a:p>
        </p:txBody>
      </p:sp>
    </p:spTree>
    <p:extLst>
      <p:ext uri="{BB962C8B-B14F-4D97-AF65-F5344CB8AC3E}">
        <p14:creationId xmlns:p14="http://schemas.microsoft.com/office/powerpoint/2010/main" val="2312417125"/>
      </p:ext>
    </p:extLst>
  </p:cSld>
  <p:clrMapOvr>
    <a:masterClrMapping/>
  </p:clrMapOvr>
  <p:extLst>
    <p:ext uri="{DCECCB84-F9BA-43D5-87BE-67443E8EF086}">
      <p15:sldGuideLst xmlns:p15="http://schemas.microsoft.com/office/powerpoint/2012/main">
        <p15:guide id="1" orient="horz" pos="374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Inhalt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nchor="b"/>
          <a:lstStyle>
            <a:lvl1pPr>
              <a:defRPr/>
            </a:lvl1pPr>
          </a:lstStyle>
          <a:p>
            <a:r>
              <a:rPr lang="de-DE"/>
              <a:t>Mastertitelformat bearbeiten</a:t>
            </a:r>
            <a:endParaRPr lang="en-US"/>
          </a:p>
        </p:txBody>
      </p:sp>
      <p:sp>
        <p:nvSpPr>
          <p:cNvPr id="3" name="Datumsplatzhalter 2">
            <a:extLst>
              <a:ext uri="{FF2B5EF4-FFF2-40B4-BE49-F238E27FC236}">
                <a16:creationId xmlns:a16="http://schemas.microsoft.com/office/drawing/2014/main" id="{105C2E51-7D0B-4A4D-8DC1-79065BA725FE}"/>
              </a:ext>
            </a:extLst>
          </p:cNvPr>
          <p:cNvSpPr>
            <a:spLocks noGrp="1"/>
          </p:cNvSpPr>
          <p:nvPr>
            <p:ph type="dt" sz="half" idx="10"/>
          </p:nvPr>
        </p:nvSpPr>
        <p:spPr/>
        <p:txBody>
          <a:bodyPr/>
          <a:lstStyle/>
          <a:p>
            <a:r>
              <a:rPr lang="de-DE" dirty="0"/>
              <a:t>14.10.2022</a:t>
            </a:r>
            <a:endParaRPr lang="en-US" dirty="0"/>
          </a:p>
        </p:txBody>
      </p:sp>
      <p:sp>
        <p:nvSpPr>
          <p:cNvPr id="5" name="Foliennummernplatzhalter 4">
            <a:extLst>
              <a:ext uri="{FF2B5EF4-FFF2-40B4-BE49-F238E27FC236}">
                <a16:creationId xmlns:a16="http://schemas.microsoft.com/office/drawing/2014/main" id="{EF1DBF68-B110-47AE-81D0-1A1BB377BEAF}"/>
              </a:ext>
            </a:extLst>
          </p:cNvPr>
          <p:cNvSpPr>
            <a:spLocks noGrp="1"/>
          </p:cNvSpPr>
          <p:nvPr>
            <p:ph type="sldNum" sz="quarter" idx="12"/>
          </p:nvPr>
        </p:nvSpPr>
        <p:spPr/>
        <p:txBody>
          <a:bodyPr/>
          <a:lstStyle/>
          <a:p>
            <a:fld id="{64647E8F-5052-4581-98D0-7C32D5A45346}" type="slidenum">
              <a:rPr lang="en-US" smtClean="0"/>
              <a:pPr/>
              <a:t>‹Nr.›</a:t>
            </a:fld>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0801" y="1449388"/>
            <a:ext cx="11088000" cy="44275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0"/>
            <a:ext cx="12192000" cy="68262"/>
          </a:xfrm>
          <a:prstGeom prst="rect">
            <a:avLst/>
          </a:prstGeom>
          <a:solidFill>
            <a:srgbClr val="00A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ußzeilenplatzhalter 12">
            <a:extLst>
              <a:ext uri="{FF2B5EF4-FFF2-40B4-BE49-F238E27FC236}">
                <a16:creationId xmlns:a16="http://schemas.microsoft.com/office/drawing/2014/main" id="{783AA3FD-B3F6-4BCC-A437-23D9555B6486}"/>
              </a:ext>
            </a:extLst>
          </p:cNvPr>
          <p:cNvSpPr>
            <a:spLocks noGrp="1"/>
          </p:cNvSpPr>
          <p:nvPr>
            <p:ph type="ftr" sz="quarter" idx="3"/>
          </p:nvPr>
        </p:nvSpPr>
        <p:spPr>
          <a:xfrm>
            <a:off x="1566986" y="6584720"/>
            <a:ext cx="9058033" cy="139606"/>
          </a:xfrm>
          <a:prstGeom prst="rect">
            <a:avLst/>
          </a:prstGeom>
        </p:spPr>
        <p:txBody>
          <a:bodyPr vert="horz" lIns="0" tIns="0" rIns="0" bIns="0" rtlCol="0" anchor="ctr">
            <a:noAutofit/>
          </a:bodyPr>
          <a:lstStyle>
            <a:lvl1pPr algn="l">
              <a:defRPr sz="900">
                <a:solidFill>
                  <a:schemeClr val="accent2"/>
                </a:solidFill>
              </a:defRPr>
            </a:lvl1pPr>
          </a:lstStyle>
          <a:p>
            <a:pPr>
              <a:defRPr/>
            </a:pPr>
            <a:r>
              <a:rPr lang="de-DE" dirty="0">
                <a:solidFill>
                  <a:srgbClr val="8C8C8C"/>
                </a:solidFill>
              </a:rPr>
              <a:t> </a:t>
            </a:r>
            <a:r>
              <a:rPr lang="de-DE" dirty="0" err="1">
                <a:solidFill>
                  <a:srgbClr val="8C8C8C"/>
                </a:solidFill>
              </a:rPr>
              <a:t>Process</a:t>
            </a:r>
            <a:r>
              <a:rPr lang="de-DE" dirty="0">
                <a:solidFill>
                  <a:srgbClr val="8C8C8C"/>
                </a:solidFill>
              </a:rPr>
              <a:t>-Mining für interdisziplinäre Anwendungen</a:t>
            </a:r>
            <a:endParaRPr lang="en-US" dirty="0">
              <a:solidFill>
                <a:srgbClr val="8C8C8C"/>
              </a:solidFill>
            </a:endParaRPr>
          </a:p>
        </p:txBody>
      </p:sp>
      <p:sp>
        <p:nvSpPr>
          <p:cNvPr id="11" name="Inhaltsplatzhalter 7">
            <a:extLst>
              <a:ext uri="{FF2B5EF4-FFF2-40B4-BE49-F238E27FC236}">
                <a16:creationId xmlns:a16="http://schemas.microsoft.com/office/drawing/2014/main" id="{E2473E26-8325-4E87-9691-D050A7D7439E}"/>
              </a:ext>
            </a:extLst>
          </p:cNvPr>
          <p:cNvSpPr>
            <a:spLocks noGrp="1"/>
          </p:cNvSpPr>
          <p:nvPr>
            <p:ph sz="quarter" idx="17" hasCustomPrompt="1"/>
          </p:nvPr>
        </p:nvSpPr>
        <p:spPr>
          <a:xfrm>
            <a:off x="552000" y="6201000"/>
            <a:ext cx="11088000" cy="144006"/>
          </a:xfrm>
        </p:spPr>
        <p:txBody>
          <a:bodyPr anchor="b"/>
          <a:lstStyle>
            <a:lvl1pPr marL="0" indent="0" algn="r">
              <a:buNone/>
              <a:defRPr sz="1050" i="1">
                <a:solidFill>
                  <a:schemeClr val="accent2"/>
                </a:solidFill>
              </a:defRPr>
            </a:lvl1pPr>
            <a:lvl2pPr>
              <a:defRPr sz="1050">
                <a:solidFill>
                  <a:schemeClr val="accent2"/>
                </a:solidFill>
              </a:defRPr>
            </a:lvl2pPr>
            <a:lvl3pPr>
              <a:defRPr sz="1000">
                <a:solidFill>
                  <a:schemeClr val="accent2"/>
                </a:solidFill>
              </a:defRPr>
            </a:lvl3pPr>
          </a:lstStyle>
          <a:p>
            <a:pPr lvl="0"/>
            <a:r>
              <a:rPr lang="de-DE"/>
              <a:t>Quelle(n): Lorem ipsum dolor sit amet</a:t>
            </a:r>
          </a:p>
        </p:txBody>
      </p:sp>
    </p:spTree>
    <p:extLst>
      <p:ext uri="{BB962C8B-B14F-4D97-AF65-F5344CB8AC3E}">
        <p14:creationId xmlns:p14="http://schemas.microsoft.com/office/powerpoint/2010/main" val="1523539379"/>
      </p:ext>
    </p:extLst>
  </p:cSld>
  <p:clrMapOvr>
    <a:masterClrMapping/>
  </p:clrMapOvr>
  <p:extLst>
    <p:ext uri="{DCECCB84-F9BA-43D5-87BE-67443E8EF086}">
      <p15:sldGuideLst xmlns:p15="http://schemas.microsoft.com/office/powerpoint/2012/main">
        <p15:guide id="1" orient="horz" pos="370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91445" y="397840"/>
            <a:ext cx="10705155" cy="369332"/>
          </a:xfrm>
        </p:spPr>
        <p:txBody>
          <a:bodyPr lIns="0" tIns="0" rIns="0" bIns="0"/>
          <a:lstStyle>
            <a:lvl1pPr>
              <a:defRPr sz="2400" b="1" i="0">
                <a:solidFill>
                  <a:srgbClr val="03895E"/>
                </a:solidFill>
                <a:latin typeface="Trebuchet MS"/>
                <a:cs typeface="Trebuchet MS"/>
              </a:defRPr>
            </a:lvl1pPr>
          </a:lstStyle>
          <a:p>
            <a:endParaRPr dirty="0"/>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7" name="Holder 6">
            <a:extLst>
              <a:ext uri="{FF2B5EF4-FFF2-40B4-BE49-F238E27FC236}">
                <a16:creationId xmlns:a16="http://schemas.microsoft.com/office/drawing/2014/main" id="{3320DD66-6BAC-4343-A2D7-4BA18F0DDC0E}"/>
              </a:ext>
            </a:extLst>
          </p:cNvPr>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 Data Engineering</a:t>
            </a:r>
          </a:p>
        </p:txBody>
      </p:sp>
      <p:sp>
        <p:nvSpPr>
          <p:cNvPr id="6" name="Holder 4">
            <a:extLst>
              <a:ext uri="{FF2B5EF4-FFF2-40B4-BE49-F238E27FC236}">
                <a16:creationId xmlns:a16="http://schemas.microsoft.com/office/drawing/2014/main" id="{8CD6E983-0C08-4D22-A09F-80EF8C7721DA}"/>
              </a:ext>
            </a:extLst>
          </p:cNvPr>
          <p:cNvSpPr>
            <a:spLocks noGrp="1"/>
          </p:cNvSpPr>
          <p:nvPr>
            <p:ph type="ftr" sz="quarter" idx="5"/>
          </p:nvPr>
        </p:nvSpPr>
        <p:spPr>
          <a:xfrm>
            <a:off x="10144212" y="6593532"/>
            <a:ext cx="1855372" cy="176972"/>
          </a:xfr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
        <p:nvSpPr>
          <p:cNvPr id="8" name="bk object 17">
            <a:extLst>
              <a:ext uri="{FF2B5EF4-FFF2-40B4-BE49-F238E27FC236}">
                <a16:creationId xmlns:a16="http://schemas.microsoft.com/office/drawing/2014/main" id="{448634EB-FDFF-47CB-8354-A59DCE1D1055}"/>
              </a:ext>
            </a:extLst>
          </p:cNvPr>
          <p:cNvSpPr/>
          <p:nvPr userDrawn="1"/>
        </p:nvSpPr>
        <p:spPr>
          <a:xfrm>
            <a:off x="11071898" y="108145"/>
            <a:ext cx="983971" cy="989958"/>
          </a:xfrm>
          <a:prstGeom prst="rect">
            <a:avLst/>
          </a:prstGeom>
          <a:blipFill>
            <a:blip r:embed="rId2" cstate="print"/>
            <a:stretch>
              <a:fillRect/>
            </a:stretch>
          </a:blipFill>
        </p:spPr>
        <p:txBody>
          <a:bodyPr wrap="square" lIns="0" tIns="0" rIns="0" bIns="0" rtlCol="0"/>
          <a:lstStyle/>
          <a:p>
            <a:endParaRPr sz="1800"/>
          </a:p>
        </p:txBody>
      </p:sp>
      <p:sp>
        <p:nvSpPr>
          <p:cNvPr id="9" name="bk object 17">
            <a:extLst>
              <a:ext uri="{FF2B5EF4-FFF2-40B4-BE49-F238E27FC236}">
                <a16:creationId xmlns:a16="http://schemas.microsoft.com/office/drawing/2014/main" id="{2FF5B0CC-A54A-428E-85ED-AD4A49D2A2D2}"/>
              </a:ext>
            </a:extLst>
          </p:cNvPr>
          <p:cNvSpPr/>
          <p:nvPr userDrawn="1"/>
        </p:nvSpPr>
        <p:spPr>
          <a:xfrm>
            <a:off x="4" y="6496811"/>
            <a:ext cx="12186529" cy="0"/>
          </a:xfrm>
          <a:custGeom>
            <a:avLst/>
            <a:gdLst/>
            <a:ahLst/>
            <a:cxnLst/>
            <a:rect l="l" t="t" r="r" b="b"/>
            <a:pathLst>
              <a:path w="9901555">
                <a:moveTo>
                  <a:pt x="9901428" y="0"/>
                </a:moveTo>
                <a:lnTo>
                  <a:pt x="0" y="0"/>
                </a:lnTo>
              </a:path>
            </a:pathLst>
          </a:custGeom>
          <a:ln w="9144">
            <a:solidFill>
              <a:srgbClr val="000000"/>
            </a:solidFill>
          </a:ln>
        </p:spPr>
        <p:txBody>
          <a:bodyPr wrap="square" lIns="0" tIns="0" rIns="0" bIns="0" rtlCol="0"/>
          <a:lstStyle/>
          <a:p>
            <a:endParaRPr sz="180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194823"/>
            <a:ext cx="12192000" cy="1905"/>
          </a:xfrm>
          <a:custGeom>
            <a:avLst/>
            <a:gdLst/>
            <a:ahLst/>
            <a:cxnLst/>
            <a:rect l="l" t="t" r="r" b="b"/>
            <a:pathLst>
              <a:path w="9906000" h="1905">
                <a:moveTo>
                  <a:pt x="9906000" y="1524"/>
                </a:moveTo>
                <a:lnTo>
                  <a:pt x="0" y="0"/>
                </a:lnTo>
              </a:path>
            </a:pathLst>
          </a:custGeom>
          <a:ln w="9144">
            <a:solidFill>
              <a:srgbClr val="000000"/>
            </a:solidFill>
          </a:ln>
        </p:spPr>
        <p:txBody>
          <a:bodyPr wrap="square" lIns="0" tIns="0" rIns="0" bIns="0" rtlCol="0"/>
          <a:lstStyle/>
          <a:p>
            <a:endParaRPr sz="1800"/>
          </a:p>
        </p:txBody>
      </p:sp>
      <p:sp>
        <p:nvSpPr>
          <p:cNvPr id="2" name="Holder 2"/>
          <p:cNvSpPr>
            <a:spLocks noGrp="1"/>
          </p:cNvSpPr>
          <p:nvPr>
            <p:ph type="title"/>
          </p:nvPr>
        </p:nvSpPr>
        <p:spPr>
          <a:xfrm>
            <a:off x="191445" y="397840"/>
            <a:ext cx="10705155" cy="369332"/>
          </a:xfrm>
        </p:spPr>
        <p:txBody>
          <a:bodyPr lIns="0" tIns="0" rIns="0" bIns="0"/>
          <a:lstStyle>
            <a:lvl1pPr>
              <a:defRPr sz="2400" b="1" i="0">
                <a:solidFill>
                  <a:srgbClr val="03895E"/>
                </a:solidFill>
                <a:latin typeface="Trebuchet MS"/>
                <a:cs typeface="Trebuchet MS"/>
              </a:defRPr>
            </a:lvl1pPr>
          </a:lstStyle>
          <a:p>
            <a:endParaRPr dirty="0"/>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10" name="Holder 6">
            <a:extLst>
              <a:ext uri="{FF2B5EF4-FFF2-40B4-BE49-F238E27FC236}">
                <a16:creationId xmlns:a16="http://schemas.microsoft.com/office/drawing/2014/main" id="{E1248B7D-A15B-44F3-9164-50AB2C41CC33}"/>
              </a:ext>
            </a:extLst>
          </p:cNvPr>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 Data Engineering</a:t>
            </a:r>
          </a:p>
        </p:txBody>
      </p:sp>
      <p:sp>
        <p:nvSpPr>
          <p:cNvPr id="12" name="bk object 17">
            <a:extLst>
              <a:ext uri="{FF2B5EF4-FFF2-40B4-BE49-F238E27FC236}">
                <a16:creationId xmlns:a16="http://schemas.microsoft.com/office/drawing/2014/main" id="{AEA2F9B1-FE2C-429F-A9CA-D6992A32FED5}"/>
              </a:ext>
            </a:extLst>
          </p:cNvPr>
          <p:cNvSpPr/>
          <p:nvPr userDrawn="1"/>
        </p:nvSpPr>
        <p:spPr>
          <a:xfrm>
            <a:off x="11071898" y="108145"/>
            <a:ext cx="983971" cy="989958"/>
          </a:xfrm>
          <a:prstGeom prst="rect">
            <a:avLst/>
          </a:prstGeom>
          <a:blipFill>
            <a:blip r:embed="rId2" cstate="print"/>
            <a:stretch>
              <a:fillRect/>
            </a:stretch>
          </a:blipFill>
        </p:spPr>
        <p:txBody>
          <a:bodyPr wrap="square" lIns="0" tIns="0" rIns="0" bIns="0" rtlCol="0"/>
          <a:lstStyle/>
          <a:p>
            <a:endParaRPr sz="1800"/>
          </a:p>
        </p:txBody>
      </p:sp>
      <p:sp>
        <p:nvSpPr>
          <p:cNvPr id="9" name="Holder 4">
            <a:extLst>
              <a:ext uri="{FF2B5EF4-FFF2-40B4-BE49-F238E27FC236}">
                <a16:creationId xmlns:a16="http://schemas.microsoft.com/office/drawing/2014/main" id="{15ED61E2-4CC4-4B20-BA99-E37CCD7E331D}"/>
              </a:ext>
            </a:extLst>
          </p:cNvPr>
          <p:cNvSpPr>
            <a:spLocks noGrp="1"/>
          </p:cNvSpPr>
          <p:nvPr>
            <p:ph type="ftr" sz="quarter" idx="5"/>
          </p:nvPr>
        </p:nvSpPr>
        <p:spPr>
          <a:xfrm>
            <a:off x="10144212" y="6593532"/>
            <a:ext cx="1855372" cy="176972"/>
          </a:xfr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
        <p:nvSpPr>
          <p:cNvPr id="11" name="bk object 17">
            <a:extLst>
              <a:ext uri="{FF2B5EF4-FFF2-40B4-BE49-F238E27FC236}">
                <a16:creationId xmlns:a16="http://schemas.microsoft.com/office/drawing/2014/main" id="{9C0BF75E-4F69-43CE-9BBF-B3720A0169FD}"/>
              </a:ext>
            </a:extLst>
          </p:cNvPr>
          <p:cNvSpPr/>
          <p:nvPr userDrawn="1"/>
        </p:nvSpPr>
        <p:spPr>
          <a:xfrm>
            <a:off x="4" y="6496811"/>
            <a:ext cx="12186529" cy="0"/>
          </a:xfrm>
          <a:custGeom>
            <a:avLst/>
            <a:gdLst/>
            <a:ahLst/>
            <a:cxnLst/>
            <a:rect l="l" t="t" r="r" b="b"/>
            <a:pathLst>
              <a:path w="9901555">
                <a:moveTo>
                  <a:pt x="9901428" y="0"/>
                </a:moveTo>
                <a:lnTo>
                  <a:pt x="0" y="0"/>
                </a:lnTo>
              </a:path>
            </a:pathLst>
          </a:custGeom>
          <a:ln w="9144">
            <a:solidFill>
              <a:srgbClr val="000000"/>
            </a:solidFill>
          </a:ln>
        </p:spPr>
        <p:txBody>
          <a:bodyPr wrap="square" lIns="0" tIns="0" rIns="0" bIns="0" rtlCol="0"/>
          <a:lstStyle/>
          <a:p>
            <a:endParaRPr sz="180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91445" y="397840"/>
            <a:ext cx="11809108" cy="369332"/>
          </a:xfrm>
        </p:spPr>
        <p:txBody>
          <a:bodyPr lIns="0" tIns="0" rIns="0" bIns="0"/>
          <a:lstStyle>
            <a:lvl1pPr>
              <a:defRPr sz="2400" b="1" i="0">
                <a:solidFill>
                  <a:srgbClr val="03895E"/>
                </a:solidFill>
                <a:latin typeface="Trebuchet MS"/>
                <a:cs typeface="Trebuchet MS"/>
              </a:defRPr>
            </a:lvl1pPr>
          </a:lstStyle>
          <a:p>
            <a:endParaRPr dirty="0"/>
          </a:p>
        </p:txBody>
      </p:sp>
      <p:sp>
        <p:nvSpPr>
          <p:cNvPr id="10" name="Holder 6">
            <a:extLst>
              <a:ext uri="{FF2B5EF4-FFF2-40B4-BE49-F238E27FC236}">
                <a16:creationId xmlns:a16="http://schemas.microsoft.com/office/drawing/2014/main" id="{72905465-0FB2-4196-9B6D-84892891CDAB}"/>
              </a:ext>
            </a:extLst>
          </p:cNvPr>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 Data Engineering</a:t>
            </a:r>
          </a:p>
        </p:txBody>
      </p:sp>
      <p:sp>
        <p:nvSpPr>
          <p:cNvPr id="11" name="bk object 17">
            <a:extLst>
              <a:ext uri="{FF2B5EF4-FFF2-40B4-BE49-F238E27FC236}">
                <a16:creationId xmlns:a16="http://schemas.microsoft.com/office/drawing/2014/main" id="{BD8A981E-EEDC-4B53-A6F2-91F64FD7DD04}"/>
              </a:ext>
            </a:extLst>
          </p:cNvPr>
          <p:cNvSpPr/>
          <p:nvPr userDrawn="1"/>
        </p:nvSpPr>
        <p:spPr>
          <a:xfrm>
            <a:off x="11071898" y="108145"/>
            <a:ext cx="983971" cy="989958"/>
          </a:xfrm>
          <a:prstGeom prst="rect">
            <a:avLst/>
          </a:prstGeom>
          <a:blipFill>
            <a:blip r:embed="rId2" cstate="print"/>
            <a:stretch>
              <a:fillRect/>
            </a:stretch>
          </a:blipFill>
        </p:spPr>
        <p:txBody>
          <a:bodyPr wrap="square" lIns="0" tIns="0" rIns="0" bIns="0" rtlCol="0"/>
          <a:lstStyle/>
          <a:p>
            <a:endParaRPr sz="1800"/>
          </a:p>
        </p:txBody>
      </p:sp>
      <p:sp>
        <p:nvSpPr>
          <p:cNvPr id="8" name="Holder 4">
            <a:extLst>
              <a:ext uri="{FF2B5EF4-FFF2-40B4-BE49-F238E27FC236}">
                <a16:creationId xmlns:a16="http://schemas.microsoft.com/office/drawing/2014/main" id="{F014F037-62FA-4E79-98A2-5E15CE917EA3}"/>
              </a:ext>
            </a:extLst>
          </p:cNvPr>
          <p:cNvSpPr>
            <a:spLocks noGrp="1"/>
          </p:cNvSpPr>
          <p:nvPr>
            <p:ph type="ftr" sz="quarter" idx="5"/>
          </p:nvPr>
        </p:nvSpPr>
        <p:spPr>
          <a:xfrm>
            <a:off x="10144212" y="6593532"/>
            <a:ext cx="1855372" cy="176972"/>
          </a:xfr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5623" y="1927859"/>
            <a:ext cx="12203723" cy="0"/>
          </a:xfrm>
          <a:custGeom>
            <a:avLst/>
            <a:gdLst/>
            <a:ahLst/>
            <a:cxnLst/>
            <a:rect l="l" t="t" r="r" b="b"/>
            <a:pathLst>
              <a:path w="9915525">
                <a:moveTo>
                  <a:pt x="0" y="0"/>
                </a:moveTo>
                <a:lnTo>
                  <a:pt x="9915144" y="0"/>
                </a:lnTo>
              </a:path>
            </a:pathLst>
          </a:custGeom>
          <a:ln w="12192">
            <a:solidFill>
              <a:srgbClr val="000000"/>
            </a:solidFill>
          </a:ln>
        </p:spPr>
        <p:txBody>
          <a:bodyPr wrap="square" lIns="0" tIns="0" rIns="0" bIns="0" rtlCol="0"/>
          <a:lstStyle/>
          <a:p>
            <a:endParaRPr sz="1800"/>
          </a:p>
        </p:txBody>
      </p:sp>
      <p:sp>
        <p:nvSpPr>
          <p:cNvPr id="8" name="Holder 6">
            <a:extLst>
              <a:ext uri="{FF2B5EF4-FFF2-40B4-BE49-F238E27FC236}">
                <a16:creationId xmlns:a16="http://schemas.microsoft.com/office/drawing/2014/main" id="{A5BBC0CC-AEAC-4BDF-A8A5-E82AD25BE59B}"/>
              </a:ext>
            </a:extLst>
          </p:cNvPr>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 Data Engineering</a:t>
            </a:r>
          </a:p>
        </p:txBody>
      </p:sp>
      <p:sp>
        <p:nvSpPr>
          <p:cNvPr id="9" name="bk object 17">
            <a:extLst>
              <a:ext uri="{FF2B5EF4-FFF2-40B4-BE49-F238E27FC236}">
                <a16:creationId xmlns:a16="http://schemas.microsoft.com/office/drawing/2014/main" id="{C876FC4F-2842-4E22-8157-3302A9CAD9F2}"/>
              </a:ext>
            </a:extLst>
          </p:cNvPr>
          <p:cNvSpPr/>
          <p:nvPr userDrawn="1"/>
        </p:nvSpPr>
        <p:spPr>
          <a:xfrm>
            <a:off x="7686588" y="5775251"/>
            <a:ext cx="1175004" cy="681228"/>
          </a:xfrm>
          <a:prstGeom prst="rect">
            <a:avLst/>
          </a:prstGeom>
          <a:blipFill>
            <a:blip r:embed="rId2" cstate="print"/>
            <a:stretch>
              <a:fillRect/>
            </a:stretch>
          </a:blipFill>
        </p:spPr>
        <p:txBody>
          <a:bodyPr wrap="square" lIns="0" tIns="0" rIns="0" bIns="0" rtlCol="0"/>
          <a:lstStyle/>
          <a:p>
            <a:endParaRPr sz="1800"/>
          </a:p>
        </p:txBody>
      </p:sp>
      <p:sp>
        <p:nvSpPr>
          <p:cNvPr id="10" name="bk object 18">
            <a:extLst>
              <a:ext uri="{FF2B5EF4-FFF2-40B4-BE49-F238E27FC236}">
                <a16:creationId xmlns:a16="http://schemas.microsoft.com/office/drawing/2014/main" id="{ECB12176-96C4-428B-88DE-5A37AD3F58C3}"/>
              </a:ext>
            </a:extLst>
          </p:cNvPr>
          <p:cNvSpPr/>
          <p:nvPr userDrawn="1"/>
        </p:nvSpPr>
        <p:spPr>
          <a:xfrm>
            <a:off x="9677400" y="5791200"/>
            <a:ext cx="1763268" cy="681228"/>
          </a:xfrm>
          <a:prstGeom prst="rect">
            <a:avLst/>
          </a:prstGeom>
          <a:blipFill>
            <a:blip r:embed="rId3" cstate="print"/>
            <a:stretch>
              <a:fillRect/>
            </a:stretch>
          </a:blipFill>
        </p:spPr>
        <p:txBody>
          <a:bodyPr wrap="square" lIns="0" tIns="0" rIns="0" bIns="0" rtlCol="0"/>
          <a:lstStyle/>
          <a:p>
            <a:endParaRPr sz="1800"/>
          </a:p>
        </p:txBody>
      </p:sp>
      <p:sp>
        <p:nvSpPr>
          <p:cNvPr id="13" name="Text Box 38">
            <a:extLst>
              <a:ext uri="{FF2B5EF4-FFF2-40B4-BE49-F238E27FC236}">
                <a16:creationId xmlns:a16="http://schemas.microsoft.com/office/drawing/2014/main" id="{02A98EE9-45C8-4B69-9A18-2667F3A2B83B}"/>
              </a:ext>
            </a:extLst>
          </p:cNvPr>
          <p:cNvSpPr txBox="1">
            <a:spLocks noChangeArrowheads="1"/>
          </p:cNvSpPr>
          <p:nvPr userDrawn="1"/>
        </p:nvSpPr>
        <p:spPr bwMode="auto">
          <a:xfrm>
            <a:off x="7686588" y="2229636"/>
            <a:ext cx="4069191"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a:spAutoFit/>
          </a:bodyPr>
          <a:lstStyle>
            <a:lvl1pPr defTabSz="1001713" eaLnBrk="0" hangingPunct="0">
              <a:defRPr sz="1600">
                <a:solidFill>
                  <a:schemeClr val="tx1"/>
                </a:solidFill>
                <a:latin typeface="Trebuchet MS" pitchFamily="34" charset="0"/>
              </a:defRPr>
            </a:lvl1pPr>
            <a:lvl2pPr marL="742950" indent="-285750" defTabSz="1001713" eaLnBrk="0" hangingPunct="0">
              <a:defRPr sz="1600">
                <a:solidFill>
                  <a:schemeClr val="tx1"/>
                </a:solidFill>
                <a:latin typeface="Trebuchet MS" pitchFamily="34" charset="0"/>
              </a:defRPr>
            </a:lvl2pPr>
            <a:lvl3pPr marL="1143000" indent="-228600" defTabSz="1001713" eaLnBrk="0" hangingPunct="0">
              <a:defRPr sz="1600">
                <a:solidFill>
                  <a:schemeClr val="tx1"/>
                </a:solidFill>
                <a:latin typeface="Trebuchet MS" pitchFamily="34" charset="0"/>
              </a:defRPr>
            </a:lvl3pPr>
            <a:lvl4pPr marL="1600200" indent="-228600" defTabSz="1001713" eaLnBrk="0" hangingPunct="0">
              <a:defRPr sz="1600">
                <a:solidFill>
                  <a:schemeClr val="tx1"/>
                </a:solidFill>
                <a:latin typeface="Trebuchet MS" pitchFamily="34" charset="0"/>
              </a:defRPr>
            </a:lvl4pPr>
            <a:lvl5pPr marL="2057400" indent="-228600" defTabSz="1001713" eaLnBrk="0" hangingPunct="0">
              <a:defRPr sz="1600">
                <a:solidFill>
                  <a:schemeClr val="tx1"/>
                </a:solidFill>
                <a:latin typeface="Trebuchet MS" pitchFamily="34" charset="0"/>
              </a:defRPr>
            </a:lvl5pPr>
            <a:lvl6pPr marL="2514600" indent="-228600" defTabSz="1001713" eaLnBrk="0" fontAlgn="base" hangingPunct="0">
              <a:spcBef>
                <a:spcPct val="0"/>
              </a:spcBef>
              <a:spcAft>
                <a:spcPct val="0"/>
              </a:spcAft>
              <a:defRPr sz="1600">
                <a:solidFill>
                  <a:schemeClr val="tx1"/>
                </a:solidFill>
                <a:latin typeface="Trebuchet MS" pitchFamily="34" charset="0"/>
              </a:defRPr>
            </a:lvl6pPr>
            <a:lvl7pPr marL="2971800" indent="-228600" defTabSz="1001713" eaLnBrk="0" fontAlgn="base" hangingPunct="0">
              <a:spcBef>
                <a:spcPct val="0"/>
              </a:spcBef>
              <a:spcAft>
                <a:spcPct val="0"/>
              </a:spcAft>
              <a:defRPr sz="1600">
                <a:solidFill>
                  <a:schemeClr val="tx1"/>
                </a:solidFill>
                <a:latin typeface="Trebuchet MS" pitchFamily="34" charset="0"/>
              </a:defRPr>
            </a:lvl7pPr>
            <a:lvl8pPr marL="3429000" indent="-228600" defTabSz="1001713" eaLnBrk="0" fontAlgn="base" hangingPunct="0">
              <a:spcBef>
                <a:spcPct val="0"/>
              </a:spcBef>
              <a:spcAft>
                <a:spcPct val="0"/>
              </a:spcAft>
              <a:defRPr sz="1600">
                <a:solidFill>
                  <a:schemeClr val="tx1"/>
                </a:solidFill>
                <a:latin typeface="Trebuchet MS" pitchFamily="34" charset="0"/>
              </a:defRPr>
            </a:lvl8pPr>
            <a:lvl9pPr marL="3886200" indent="-228600" defTabSz="1001713" eaLnBrk="0" fontAlgn="base" hangingPunct="0">
              <a:spcBef>
                <a:spcPct val="0"/>
              </a:spcBef>
              <a:spcAft>
                <a:spcPct val="0"/>
              </a:spcAft>
              <a:defRPr sz="1600">
                <a:solidFill>
                  <a:schemeClr val="tx1"/>
                </a:solidFill>
                <a:latin typeface="Trebuchet MS" pitchFamily="34" charset="0"/>
              </a:defRPr>
            </a:lvl9pPr>
          </a:lstStyle>
          <a:p>
            <a:pPr eaLnBrk="1" hangingPunct="1">
              <a:spcBef>
                <a:spcPct val="50000"/>
              </a:spcBef>
              <a:defRPr/>
            </a:pPr>
            <a:r>
              <a:rPr lang="de-DE" sz="1200" b="1" dirty="0">
                <a:solidFill>
                  <a:srgbClr val="646464"/>
                </a:solidFill>
                <a:latin typeface="Trebuchet MS (Überschriften)"/>
              </a:rPr>
              <a:t>Universität Bayreuth</a:t>
            </a:r>
          </a:p>
          <a:p>
            <a:pPr marL="0" marR="0" indent="0" algn="l" defTabSz="711617" rtl="0" eaLnBrk="1" fontAlgn="base" latinLnBrk="0" hangingPunct="1">
              <a:lnSpc>
                <a:spcPct val="100000"/>
              </a:lnSpc>
              <a:spcBef>
                <a:spcPct val="50000"/>
              </a:spcBef>
              <a:spcAft>
                <a:spcPct val="0"/>
              </a:spcAft>
              <a:buClrTx/>
              <a:buSzTx/>
              <a:buFontTx/>
              <a:buNone/>
              <a:tabLst/>
              <a:defRPr/>
            </a:pPr>
            <a:r>
              <a:rPr lang="de-DE" sz="1200" b="1" dirty="0">
                <a:solidFill>
                  <a:srgbClr val="646464"/>
                </a:solidFill>
                <a:latin typeface="Trebuchet MS (Überschriften)"/>
              </a:rPr>
              <a:t>Prof. Dr. Agnes Koschmider</a:t>
            </a:r>
          </a:p>
          <a:p>
            <a:pPr marL="0" marR="0" indent="0" algn="l" defTabSz="711617" rtl="0" eaLnBrk="1" fontAlgn="base" latinLnBrk="0" hangingPunct="1">
              <a:lnSpc>
                <a:spcPct val="100000"/>
              </a:lnSpc>
              <a:spcBef>
                <a:spcPct val="50000"/>
              </a:spcBef>
              <a:spcAft>
                <a:spcPct val="0"/>
              </a:spcAft>
              <a:buClrTx/>
              <a:buSzTx/>
              <a:buFontTx/>
              <a:buNone/>
              <a:tabLst/>
              <a:defRPr/>
            </a:pPr>
            <a:r>
              <a:rPr lang="de-DE" sz="1200" dirty="0">
                <a:solidFill>
                  <a:srgbClr val="646464"/>
                </a:solidFill>
                <a:latin typeface="Trebuchet MS (Überschriften)"/>
              </a:rPr>
              <a:t>Lehrstuhl für Wirtschaftsinformatik und Process Analytics </a:t>
            </a:r>
          </a:p>
          <a:p>
            <a:pPr marL="0" marR="0" indent="0" algn="l" defTabSz="711617" rtl="0" eaLnBrk="1" fontAlgn="base" latinLnBrk="0" hangingPunct="1">
              <a:lnSpc>
                <a:spcPct val="100000"/>
              </a:lnSpc>
              <a:spcBef>
                <a:spcPct val="50000"/>
              </a:spcBef>
              <a:spcAft>
                <a:spcPct val="0"/>
              </a:spcAft>
              <a:buClrTx/>
              <a:buSzTx/>
              <a:buFontTx/>
              <a:buNone/>
              <a:tabLst/>
              <a:defRPr/>
            </a:pPr>
            <a:r>
              <a:rPr lang="de-DE" sz="1200" dirty="0">
                <a:solidFill>
                  <a:srgbClr val="646464"/>
                </a:solidFill>
                <a:latin typeface="Trebuchet MS (Überschriften)"/>
              </a:rPr>
              <a:t>Kernkompetenzzentrum</a:t>
            </a:r>
            <a:br>
              <a:rPr lang="de-DE" sz="1200" dirty="0">
                <a:solidFill>
                  <a:srgbClr val="646464"/>
                </a:solidFill>
                <a:latin typeface="Trebuchet MS (Überschriften)"/>
              </a:rPr>
            </a:br>
            <a:r>
              <a:rPr lang="de-DE" sz="1200" dirty="0">
                <a:solidFill>
                  <a:srgbClr val="646464"/>
                </a:solidFill>
                <a:latin typeface="Trebuchet MS (Überschriften)"/>
              </a:rPr>
              <a:t>Finanz- &amp; Informationsmanagement</a:t>
            </a:r>
          </a:p>
          <a:p>
            <a:pPr eaLnBrk="1" hangingPunct="1">
              <a:spcBef>
                <a:spcPct val="50000"/>
              </a:spcBef>
              <a:defRPr/>
            </a:pPr>
            <a:r>
              <a:rPr lang="de-DE" sz="1200" dirty="0">
                <a:solidFill>
                  <a:srgbClr val="646464"/>
                </a:solidFill>
                <a:latin typeface="Trebuchet MS (Überschriften)"/>
              </a:rPr>
              <a:t>Projektgruppe Wirtschaftsinformatik </a:t>
            </a:r>
            <a:br>
              <a:rPr lang="de-DE" sz="1200" dirty="0">
                <a:solidFill>
                  <a:srgbClr val="646464"/>
                </a:solidFill>
                <a:latin typeface="Trebuchet MS (Überschriften)"/>
              </a:rPr>
            </a:br>
            <a:r>
              <a:rPr lang="de-DE" sz="1200" dirty="0">
                <a:solidFill>
                  <a:srgbClr val="646464"/>
                </a:solidFill>
                <a:latin typeface="Trebuchet MS (Überschriften)"/>
              </a:rPr>
              <a:t>des Fraunhofer FIT</a:t>
            </a:r>
          </a:p>
          <a:p>
            <a:pPr eaLnBrk="1" hangingPunct="1">
              <a:spcBef>
                <a:spcPct val="50000"/>
              </a:spcBef>
              <a:defRPr/>
            </a:pPr>
            <a:endParaRPr lang="de-DE" sz="1200" b="1" dirty="0">
              <a:solidFill>
                <a:srgbClr val="646464"/>
              </a:solidFill>
              <a:latin typeface="Trebuchet MS (Überschriften)"/>
            </a:endParaRPr>
          </a:p>
          <a:p>
            <a:pPr eaLnBrk="1" hangingPunct="1">
              <a:spcBef>
                <a:spcPct val="50000"/>
              </a:spcBef>
              <a:defRPr/>
            </a:pPr>
            <a:endParaRPr lang="de-DE" sz="1200" b="1" dirty="0">
              <a:solidFill>
                <a:srgbClr val="646464"/>
              </a:solidFill>
              <a:latin typeface="Trebuchet MS (Überschriften)"/>
            </a:endParaRPr>
          </a:p>
          <a:p>
            <a:pPr eaLnBrk="1" hangingPunct="1">
              <a:spcBef>
                <a:spcPct val="50000"/>
              </a:spcBef>
              <a:defRPr/>
            </a:pPr>
            <a:r>
              <a:rPr lang="de-DE" sz="1200" b="1" dirty="0">
                <a:solidFill>
                  <a:srgbClr val="646464"/>
                </a:solidFill>
                <a:latin typeface="Trebuchet MS (Überschriften)"/>
              </a:rPr>
              <a:t>www.fim-rc.de</a:t>
            </a:r>
          </a:p>
          <a:p>
            <a:pPr eaLnBrk="1" hangingPunct="1">
              <a:spcBef>
                <a:spcPct val="50000"/>
              </a:spcBef>
              <a:defRPr/>
            </a:pPr>
            <a:r>
              <a:rPr lang="de-DE" sz="1200" b="1" dirty="0">
                <a:solidFill>
                  <a:srgbClr val="646464"/>
                </a:solidFill>
                <a:latin typeface="Trebuchet MS (Überschriften)"/>
              </a:rPr>
              <a:t>www.wirtschaftsinformatik.fraunhofer.de</a:t>
            </a:r>
          </a:p>
        </p:txBody>
      </p:sp>
      <p:sp>
        <p:nvSpPr>
          <p:cNvPr id="14" name="Rectangle 27">
            <a:extLst>
              <a:ext uri="{FF2B5EF4-FFF2-40B4-BE49-F238E27FC236}">
                <a16:creationId xmlns:a16="http://schemas.microsoft.com/office/drawing/2014/main" id="{466C1AAE-0939-4182-848D-47852800B5C5}"/>
              </a:ext>
            </a:extLst>
          </p:cNvPr>
          <p:cNvSpPr>
            <a:spLocks noGrp="1" noChangeArrowheads="1"/>
          </p:cNvSpPr>
          <p:nvPr>
            <p:ph type="ctrTitle"/>
          </p:nvPr>
        </p:nvSpPr>
        <p:spPr>
          <a:xfrm>
            <a:off x="304800" y="2229636"/>
            <a:ext cx="5039078" cy="1615827"/>
          </a:xfrm>
          <a:prstGeom prst="rect">
            <a:avLst/>
          </a:prstGeom>
        </p:spPr>
        <p:txBody>
          <a:bodyPr lIns="0"/>
          <a:lstStyle>
            <a:lvl1pPr>
              <a:defRPr sz="3500" baseline="0">
                <a:solidFill>
                  <a:srgbClr val="03895E"/>
                </a:solidFill>
              </a:defRPr>
            </a:lvl1pPr>
          </a:lstStyle>
          <a:p>
            <a:r>
              <a:rPr lang="de-DE" dirty="0"/>
              <a:t>Titelmasterformat durch Klicken bearbeiten</a:t>
            </a:r>
          </a:p>
        </p:txBody>
      </p:sp>
      <p:sp>
        <p:nvSpPr>
          <p:cNvPr id="15" name="Rectangle 28">
            <a:extLst>
              <a:ext uri="{FF2B5EF4-FFF2-40B4-BE49-F238E27FC236}">
                <a16:creationId xmlns:a16="http://schemas.microsoft.com/office/drawing/2014/main" id="{5FBD4315-929E-4C23-8B24-D8BC0F60FC1B}"/>
              </a:ext>
            </a:extLst>
          </p:cNvPr>
          <p:cNvSpPr>
            <a:spLocks noGrp="1" noChangeArrowheads="1"/>
          </p:cNvSpPr>
          <p:nvPr>
            <p:ph type="subTitle" idx="1"/>
          </p:nvPr>
        </p:nvSpPr>
        <p:spPr>
          <a:xfrm>
            <a:off x="304800" y="4477354"/>
            <a:ext cx="5057423" cy="615553"/>
          </a:xfrm>
          <a:prstGeom prst="rect">
            <a:avLst/>
          </a:prstGeom>
        </p:spPr>
        <p:txBody>
          <a:bodyPr lIns="0"/>
          <a:lstStyle>
            <a:lvl1pPr marL="0" indent="0">
              <a:buFontTx/>
              <a:buNone/>
              <a:defRPr sz="2000">
                <a:solidFill>
                  <a:schemeClr val="tx1"/>
                </a:solidFill>
                <a:latin typeface="Trebuchet MS (Überschriften)"/>
              </a:defRPr>
            </a:lvl1pPr>
          </a:lstStyle>
          <a:p>
            <a:r>
              <a:rPr lang="de-DE" dirty="0"/>
              <a:t>Formatvorlage des Untertitelmasters durch Klicken bearbeiten</a:t>
            </a:r>
          </a:p>
        </p:txBody>
      </p:sp>
      <p:sp>
        <p:nvSpPr>
          <p:cNvPr id="11" name="Holder 4">
            <a:extLst>
              <a:ext uri="{FF2B5EF4-FFF2-40B4-BE49-F238E27FC236}">
                <a16:creationId xmlns:a16="http://schemas.microsoft.com/office/drawing/2014/main" id="{EB119114-F0CC-4BE3-8D9E-FC4C16B66630}"/>
              </a:ext>
            </a:extLst>
          </p:cNvPr>
          <p:cNvSpPr>
            <a:spLocks noGrp="1"/>
          </p:cNvSpPr>
          <p:nvPr>
            <p:ph type="ftr" sz="quarter" idx="5"/>
          </p:nvPr>
        </p:nvSpPr>
        <p:spPr>
          <a:xfrm>
            <a:off x="10144212" y="6593532"/>
            <a:ext cx="1855372" cy="176972"/>
          </a:xfr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elfolie beliebige*r Vortragende*r">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72AA9AF9-C1E4-45D7-81EE-22A40C9977F1}"/>
              </a:ext>
            </a:extLst>
          </p:cNvPr>
          <p:cNvSpPr/>
          <p:nvPr userDrawn="1"/>
        </p:nvSpPr>
        <p:spPr>
          <a:xfrm>
            <a:off x="0" y="68263"/>
            <a:ext cx="12192000" cy="6789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dirty="0"/>
          </a:p>
        </p:txBody>
      </p:sp>
      <p:sp>
        <p:nvSpPr>
          <p:cNvPr id="2" name="Titel 1">
            <a:extLst>
              <a:ext uri="{FF2B5EF4-FFF2-40B4-BE49-F238E27FC236}">
                <a16:creationId xmlns:a16="http://schemas.microsoft.com/office/drawing/2014/main" id="{CE8B9819-F136-4869-839D-BB089F223A86}"/>
              </a:ext>
            </a:extLst>
          </p:cNvPr>
          <p:cNvSpPr>
            <a:spLocks noGrp="1"/>
          </p:cNvSpPr>
          <p:nvPr>
            <p:ph type="title" hasCustomPrompt="1"/>
          </p:nvPr>
        </p:nvSpPr>
        <p:spPr>
          <a:xfrm>
            <a:off x="4548557" y="1397593"/>
            <a:ext cx="7092583" cy="776288"/>
          </a:xfrm>
        </p:spPr>
        <p:txBody>
          <a:bodyPr/>
          <a:lstStyle>
            <a:lvl1pPr>
              <a:defRPr sz="2520">
                <a:solidFill>
                  <a:schemeClr val="tx2"/>
                </a:solidFill>
              </a:defRPr>
            </a:lvl1pPr>
          </a:lstStyle>
          <a:p>
            <a:r>
              <a:rPr lang="de-DE"/>
              <a:t>Beliebige*r Vortragende*r</a:t>
            </a:r>
            <a:br>
              <a:rPr lang="de-DE"/>
            </a:br>
            <a:r>
              <a:rPr lang="de-DE"/>
              <a:t>Zweite Zeile Ipsum</a:t>
            </a:r>
            <a:endParaRPr lang="en-US"/>
          </a:p>
        </p:txBody>
      </p:sp>
      <p:sp>
        <p:nvSpPr>
          <p:cNvPr id="39" name="Textplatzhalter 38">
            <a:extLst>
              <a:ext uri="{FF2B5EF4-FFF2-40B4-BE49-F238E27FC236}">
                <a16:creationId xmlns:a16="http://schemas.microsoft.com/office/drawing/2014/main" id="{7CB5CBC7-4143-4DEA-8809-9B114E002A77}"/>
              </a:ext>
            </a:extLst>
          </p:cNvPr>
          <p:cNvSpPr>
            <a:spLocks noGrp="1"/>
          </p:cNvSpPr>
          <p:nvPr userDrawn="1">
            <p:ph type="body" sz="quarter" idx="14" hasCustomPrompt="1"/>
          </p:nvPr>
        </p:nvSpPr>
        <p:spPr>
          <a:xfrm>
            <a:off x="4548558" y="2385195"/>
            <a:ext cx="7092583" cy="443198"/>
          </a:xfrm>
        </p:spPr>
        <p:txBody>
          <a:bodyPr/>
          <a:lstStyle>
            <a:lvl1pPr marL="0" indent="0">
              <a:spcBef>
                <a:spcPts val="0"/>
              </a:spcBef>
              <a:buNone/>
              <a:defRPr sz="1440">
                <a:solidFill>
                  <a:srgbClr val="4B4B4B"/>
                </a:solidFill>
              </a:defRPr>
            </a:lvl1pPr>
            <a:lvl2pPr>
              <a:defRPr sz="1440"/>
            </a:lvl2pPr>
            <a:lvl3pPr>
              <a:defRPr sz="1260"/>
            </a:lvl3pPr>
            <a:lvl4pPr>
              <a:defRPr sz="1080"/>
            </a:lvl4pPr>
            <a:lvl5pPr>
              <a:defRPr sz="1080"/>
            </a:lvl5pPr>
          </a:lstStyle>
          <a:p>
            <a:pPr lvl="0"/>
            <a:r>
              <a:rPr lang="de-DE"/>
              <a:t>Untertitel </a:t>
            </a:r>
            <a:r>
              <a:rPr lang="de-DE" err="1"/>
              <a:t>Lorem</a:t>
            </a:r>
            <a:br>
              <a:rPr lang="de-DE"/>
            </a:br>
            <a:r>
              <a:rPr lang="de-DE"/>
              <a:t>Zweite Zeile Ipsum</a:t>
            </a:r>
            <a:endParaRPr lang="en-US"/>
          </a:p>
        </p:txBody>
      </p:sp>
      <p:cxnSp>
        <p:nvCxnSpPr>
          <p:cNvPr id="136" name="Gerader Verbinder 135">
            <a:extLst>
              <a:ext uri="{FF2B5EF4-FFF2-40B4-BE49-F238E27FC236}">
                <a16:creationId xmlns:a16="http://schemas.microsoft.com/office/drawing/2014/main" id="{19B33EA7-9CE8-493B-9082-0F747F82D6A2}"/>
              </a:ext>
            </a:extLst>
          </p:cNvPr>
          <p:cNvCxnSpPr>
            <a:cxnSpLocks/>
          </p:cNvCxnSpPr>
          <p:nvPr userDrawn="1"/>
        </p:nvCxnSpPr>
        <p:spPr>
          <a:xfrm>
            <a:off x="4548557" y="1238116"/>
            <a:ext cx="708659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34" name="Rechteck 133">
            <a:extLst>
              <a:ext uri="{FF2B5EF4-FFF2-40B4-BE49-F238E27FC236}">
                <a16:creationId xmlns:a16="http://schemas.microsoft.com/office/drawing/2014/main" id="{5160DD39-B6E4-4C35-9F28-B07F49DEFDF7}"/>
              </a:ext>
            </a:extLst>
          </p:cNvPr>
          <p:cNvSpPr/>
          <p:nvPr userDrawn="1"/>
        </p:nvSpPr>
        <p:spPr>
          <a:xfrm>
            <a:off x="0" y="1"/>
            <a:ext cx="12192000" cy="68262"/>
          </a:xfrm>
          <a:prstGeom prst="rect">
            <a:avLst/>
          </a:prstGeom>
          <a:solidFill>
            <a:srgbClr val="00A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cxnSp>
        <p:nvCxnSpPr>
          <p:cNvPr id="138" name="Gerader Verbinder 137">
            <a:extLst>
              <a:ext uri="{FF2B5EF4-FFF2-40B4-BE49-F238E27FC236}">
                <a16:creationId xmlns:a16="http://schemas.microsoft.com/office/drawing/2014/main" id="{0A45966A-13AC-43DE-93A7-08E0DE51F97A}"/>
              </a:ext>
            </a:extLst>
          </p:cNvPr>
          <p:cNvCxnSpPr>
            <a:cxnSpLocks/>
          </p:cNvCxnSpPr>
          <p:nvPr userDrawn="1"/>
        </p:nvCxnSpPr>
        <p:spPr>
          <a:xfrm>
            <a:off x="4548555" y="1238116"/>
            <a:ext cx="70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platzhalter 38">
            <a:extLst>
              <a:ext uri="{FF2B5EF4-FFF2-40B4-BE49-F238E27FC236}">
                <a16:creationId xmlns:a16="http://schemas.microsoft.com/office/drawing/2014/main" id="{86DF2652-0633-451E-ACFC-CBD7DD3682CB}"/>
              </a:ext>
            </a:extLst>
          </p:cNvPr>
          <p:cNvSpPr>
            <a:spLocks noGrp="1"/>
          </p:cNvSpPr>
          <p:nvPr>
            <p:ph type="body" sz="quarter" idx="15" hasCustomPrompt="1"/>
          </p:nvPr>
        </p:nvSpPr>
        <p:spPr>
          <a:xfrm>
            <a:off x="4548557" y="3045601"/>
            <a:ext cx="7092583" cy="498598"/>
          </a:xfrm>
        </p:spPr>
        <p:txBody>
          <a:bodyPr/>
          <a:lstStyle>
            <a:lvl1pPr marL="0" indent="0">
              <a:spcBef>
                <a:spcPts val="0"/>
              </a:spcBef>
              <a:buNone/>
              <a:defRPr sz="1080" b="1">
                <a:solidFill>
                  <a:srgbClr val="4B4B4B"/>
                </a:solidFill>
              </a:defRPr>
            </a:lvl1pPr>
            <a:lvl2pPr>
              <a:defRPr sz="1440"/>
            </a:lvl2pPr>
            <a:lvl3pPr>
              <a:defRPr sz="1260"/>
            </a:lvl3pPr>
            <a:lvl4pPr>
              <a:defRPr sz="1080"/>
            </a:lvl4pPr>
            <a:lvl5pPr>
              <a:defRPr sz="1080"/>
            </a:lvl5pPr>
          </a:lstStyle>
          <a:p>
            <a:pPr lvl="0"/>
            <a:r>
              <a:rPr lang="en-US" err="1"/>
              <a:t>Titel</a:t>
            </a:r>
            <a:r>
              <a:rPr lang="en-US"/>
              <a:t> und Name der/des </a:t>
            </a:r>
            <a:r>
              <a:rPr lang="en-US" err="1"/>
              <a:t>Vortragenden</a:t>
            </a:r>
            <a:endParaRPr lang="en-US"/>
          </a:p>
          <a:p>
            <a:pPr marL="0" marR="0" lvl="0" indent="0" algn="l" defTabSz="822960" rtl="0" eaLnBrk="1" fontAlgn="auto" latinLnBrk="0" hangingPunct="1">
              <a:lnSpc>
                <a:spcPct val="100000"/>
              </a:lnSpc>
              <a:spcBef>
                <a:spcPts val="0"/>
              </a:spcBef>
              <a:spcAft>
                <a:spcPts val="0"/>
              </a:spcAft>
              <a:buClrTx/>
              <a:buSzTx/>
              <a:buFontTx/>
              <a:buNone/>
              <a:tabLst/>
              <a:defRPr/>
            </a:pPr>
            <a:endParaRPr lang="en-US"/>
          </a:p>
          <a:p>
            <a:pPr lvl="0"/>
            <a:endParaRPr lang="en-US"/>
          </a:p>
        </p:txBody>
      </p:sp>
      <p:sp>
        <p:nvSpPr>
          <p:cNvPr id="3" name="Textfeld 2">
            <a:extLst>
              <a:ext uri="{FF2B5EF4-FFF2-40B4-BE49-F238E27FC236}">
                <a16:creationId xmlns:a16="http://schemas.microsoft.com/office/drawing/2014/main" id="{68A2D0A4-929C-4059-BBE7-4297BFE74BDA}"/>
              </a:ext>
            </a:extLst>
          </p:cNvPr>
          <p:cNvSpPr txBox="1"/>
          <p:nvPr userDrawn="1"/>
        </p:nvSpPr>
        <p:spPr>
          <a:xfrm>
            <a:off x="4548555" y="3413601"/>
            <a:ext cx="7106424" cy="1542626"/>
          </a:xfrm>
          <a:prstGeom prst="rect">
            <a:avLst/>
          </a:prstGeom>
        </p:spPr>
        <p:txBody>
          <a:bodyPr vert="horz" wrap="square" lIns="0" tIns="0" rIns="0" bIns="0" rtlCol="0">
            <a:noAutofit/>
          </a:bodyPr>
          <a:lstStyle/>
          <a:p>
            <a:pPr marL="0" marR="0" lvl="0" indent="0" algn="l" defTabSz="822960" rtl="0" eaLnBrk="1" fontAlgn="auto" latinLnBrk="0" hangingPunct="1">
              <a:lnSpc>
                <a:spcPct val="100000"/>
              </a:lnSpc>
              <a:spcBef>
                <a:spcPts val="0"/>
              </a:spcBef>
              <a:spcAft>
                <a:spcPts val="0"/>
              </a:spcAft>
              <a:buClrTx/>
              <a:buSzTx/>
              <a:buFontTx/>
              <a:buNone/>
              <a:tabLst/>
              <a:defRPr/>
            </a:pPr>
            <a:r>
              <a:rPr lang="de-DE" sz="1080" b="0" kern="1200" dirty="0">
                <a:solidFill>
                  <a:srgbClr val="4B4B4B"/>
                </a:solidFill>
                <a:latin typeface="Trebuchet MS" pitchFamily="34" charset="0"/>
                <a:ea typeface="+mn-ea"/>
                <a:cs typeface="Arial" charset="0"/>
              </a:rPr>
              <a:t>Universität Bayreuth</a:t>
            </a:r>
          </a:p>
          <a:p>
            <a:pPr lvl="0"/>
            <a:r>
              <a:rPr lang="de-DE" sz="1080" b="0" dirty="0">
                <a:solidFill>
                  <a:srgbClr val="4B4B4B"/>
                </a:solidFill>
              </a:rPr>
              <a:t>Professur für Wirtschaftsinformatik und </a:t>
            </a:r>
            <a:r>
              <a:rPr lang="de-DE" sz="1080" b="0" dirty="0" err="1">
                <a:solidFill>
                  <a:srgbClr val="4B4B4B"/>
                </a:solidFill>
              </a:rPr>
              <a:t>Process</a:t>
            </a:r>
            <a:r>
              <a:rPr lang="de-DE" sz="1080" b="0" dirty="0">
                <a:solidFill>
                  <a:srgbClr val="4B4B4B"/>
                </a:solidFill>
              </a:rPr>
              <a:t> Analytics </a:t>
            </a:r>
          </a:p>
          <a:p>
            <a:pPr lvl="0"/>
            <a:endParaRPr lang="de-DE" sz="1080" b="0" dirty="0">
              <a:solidFill>
                <a:srgbClr val="4B4B4B"/>
              </a:solidFill>
            </a:endParaRPr>
          </a:p>
        </p:txBody>
      </p:sp>
      <p:sp>
        <p:nvSpPr>
          <p:cNvPr id="27" name="Textfeld 26">
            <a:extLst>
              <a:ext uri="{FF2B5EF4-FFF2-40B4-BE49-F238E27FC236}">
                <a16:creationId xmlns:a16="http://schemas.microsoft.com/office/drawing/2014/main" id="{EDB59ADC-D240-4941-9DD5-203A92C371F5}"/>
              </a:ext>
            </a:extLst>
          </p:cNvPr>
          <p:cNvSpPr txBox="1"/>
          <p:nvPr userDrawn="1"/>
        </p:nvSpPr>
        <p:spPr>
          <a:xfrm>
            <a:off x="4548555" y="5868027"/>
            <a:ext cx="3364380" cy="365668"/>
          </a:xfrm>
          <a:prstGeom prst="rect">
            <a:avLst/>
          </a:prstGeom>
        </p:spPr>
        <p:txBody>
          <a:bodyPr vert="horz" wrap="square" lIns="0" tIns="0" rIns="0" bIns="0" rtlCol="0" anchor="b">
            <a:noAutofit/>
          </a:bodyPr>
          <a:lstStyle/>
          <a:p>
            <a:pPr lvl="0"/>
            <a:r>
              <a:rPr lang="de-DE" sz="1100" kern="1200" dirty="0">
                <a:solidFill>
                  <a:schemeClr val="tx2"/>
                </a:solidFill>
                <a:latin typeface="Trebuchet MS" pitchFamily="34" charset="0"/>
                <a:ea typeface="+mn-ea"/>
                <a:cs typeface="Arial" charset="0"/>
                <a:hlinkClick r:id="rId2">
                  <a:extLst>
                    <a:ext uri="{A12FA001-AC4F-418D-AE19-62706E023703}">
                      <ahyp:hlinkClr xmlns:ahyp="http://schemas.microsoft.com/office/drawing/2018/hyperlinkcolor" val="tx"/>
                    </a:ext>
                  </a:extLst>
                </a:hlinkClick>
              </a:rPr>
              <a:t>www.pa.uni-bayreuth.de</a:t>
            </a:r>
            <a:endParaRPr lang="de-DE" sz="1100" kern="1200" dirty="0">
              <a:solidFill>
                <a:schemeClr val="tx2"/>
              </a:solidFill>
              <a:latin typeface="Trebuchet MS" pitchFamily="34" charset="0"/>
              <a:ea typeface="+mn-ea"/>
              <a:cs typeface="Arial" charset="0"/>
            </a:endParaRPr>
          </a:p>
          <a:p>
            <a:pPr lvl="0"/>
            <a:r>
              <a:rPr lang="de-DE" sz="1100" dirty="0">
                <a:solidFill>
                  <a:schemeClr val="tx2"/>
                </a:solidFill>
                <a:latin typeface="Trebuchet MS" panose="020B0603020202020204" pitchFamily="34" charset="0"/>
              </a:rPr>
              <a:t>https://www.wi.uni-bayreuth.de</a:t>
            </a:r>
          </a:p>
        </p:txBody>
      </p:sp>
      <p:sp>
        <p:nvSpPr>
          <p:cNvPr id="52" name="Bildplatzhalter 6">
            <a:extLst>
              <a:ext uri="{FF2B5EF4-FFF2-40B4-BE49-F238E27FC236}">
                <a16:creationId xmlns:a16="http://schemas.microsoft.com/office/drawing/2014/main" id="{35763F9D-4B65-48F0-807E-FAD09468A9A6}"/>
              </a:ext>
            </a:extLst>
          </p:cNvPr>
          <p:cNvSpPr>
            <a:spLocks noGrp="1"/>
          </p:cNvSpPr>
          <p:nvPr>
            <p:ph type="pic" sz="quarter" idx="13" hasCustomPrompt="1"/>
          </p:nvPr>
        </p:nvSpPr>
        <p:spPr>
          <a:xfrm>
            <a:off x="1" y="68263"/>
            <a:ext cx="4114800" cy="276999"/>
          </a:xfrm>
          <a:solidFill>
            <a:srgbClr val="B2DECF"/>
          </a:solidFill>
        </p:spPr>
        <p:txBody>
          <a:bodyPr/>
          <a:lstStyle>
            <a:lvl1pPr marL="0" indent="0">
              <a:buNone/>
              <a:defRPr/>
            </a:lvl1pPr>
          </a:lstStyle>
          <a:p>
            <a:r>
              <a:rPr lang="de-DE"/>
              <a:t> </a:t>
            </a:r>
            <a:endParaRPr lang="en-US"/>
          </a:p>
        </p:txBody>
      </p:sp>
      <p:pic>
        <p:nvPicPr>
          <p:cNvPr id="6" name="Grafik 5" descr="Ein Bild, das Text, Schrift, Screenshot, Grafiken enthält.&#10;&#10;Automatisch generierte Beschreibung">
            <a:extLst>
              <a:ext uri="{FF2B5EF4-FFF2-40B4-BE49-F238E27FC236}">
                <a16:creationId xmlns:a16="http://schemas.microsoft.com/office/drawing/2014/main" id="{2A77F8E3-6C03-68F3-15D7-89930D57C9E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11233" y="273980"/>
            <a:ext cx="2152519" cy="666002"/>
          </a:xfrm>
          <a:prstGeom prst="rect">
            <a:avLst/>
          </a:prstGeom>
        </p:spPr>
      </p:pic>
    </p:spTree>
    <p:extLst>
      <p:ext uri="{BB962C8B-B14F-4D97-AF65-F5344CB8AC3E}">
        <p14:creationId xmlns:p14="http://schemas.microsoft.com/office/powerpoint/2010/main" val="23113119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Inhaltsfolie" userDrawn="1">
  <p:cSld name="Inhalt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nchor="b"/>
          <a:lstStyle>
            <a:lvl1pPr>
              <a:defRPr/>
            </a:lvl1pPr>
          </a:lstStyle>
          <a:p>
            <a:r>
              <a:rPr lang="de-DE"/>
              <a:t>Mastertitelformat bearbeiten</a:t>
            </a:r>
            <a:endParaRPr lang="en-US"/>
          </a:p>
        </p:txBody>
      </p:sp>
      <p:sp>
        <p:nvSpPr>
          <p:cNvPr id="3" name="Datumsplatzhalter 2">
            <a:extLst>
              <a:ext uri="{FF2B5EF4-FFF2-40B4-BE49-F238E27FC236}">
                <a16:creationId xmlns:a16="http://schemas.microsoft.com/office/drawing/2014/main" id="{105C2E51-7D0B-4A4D-8DC1-79065BA725FE}"/>
              </a:ext>
            </a:extLst>
          </p:cNvPr>
          <p:cNvSpPr>
            <a:spLocks noGrp="1"/>
          </p:cNvSpPr>
          <p:nvPr>
            <p:ph type="dt" sz="half" idx="10"/>
          </p:nvPr>
        </p:nvSpPr>
        <p:spPr/>
        <p:txBody>
          <a:bodyPr/>
          <a:lstStyle>
            <a:lvl1pPr>
              <a:defRPr>
                <a:solidFill>
                  <a:schemeClr val="accent3"/>
                </a:solidFill>
              </a:defRPr>
            </a:lvl1pPr>
          </a:lstStyle>
          <a:p>
            <a:fld id="{F9386414-91D6-4C81-835C-463B4F31272B}" type="datetime1">
              <a:rPr lang="de-DE" smtClean="0"/>
              <a:pPr/>
              <a:t>12.04.2024</a:t>
            </a:fld>
            <a:endParaRPr lang="en-US"/>
          </a:p>
        </p:txBody>
      </p:sp>
      <p:sp>
        <p:nvSpPr>
          <p:cNvPr id="5" name="Foliennummernplatzhalter 4">
            <a:extLst>
              <a:ext uri="{FF2B5EF4-FFF2-40B4-BE49-F238E27FC236}">
                <a16:creationId xmlns:a16="http://schemas.microsoft.com/office/drawing/2014/main" id="{EF1DBF68-B110-47AE-81D0-1A1BB377BEAF}"/>
              </a:ext>
            </a:extLst>
          </p:cNvPr>
          <p:cNvSpPr>
            <a:spLocks noGrp="1"/>
          </p:cNvSpPr>
          <p:nvPr>
            <p:ph type="sldNum" sz="quarter" idx="12"/>
          </p:nvPr>
        </p:nvSpPr>
        <p:spPr/>
        <p:txBody>
          <a:bodyPr/>
          <a:lstStyle>
            <a:lvl1pPr>
              <a:defRPr>
                <a:solidFill>
                  <a:schemeClr val="accent3"/>
                </a:solidFill>
              </a:defRPr>
            </a:lvl1pPr>
          </a:lstStyle>
          <a:p>
            <a:fld id="{64647E8F-5052-4581-98D0-7C32D5A45346}" type="slidenum">
              <a:rPr lang="en-US" smtClean="0"/>
              <a:pPr/>
              <a:t>‹Nr.›</a:t>
            </a:fld>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0801" y="1449389"/>
            <a:ext cx="11088000" cy="44275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2"/>
            <a:ext cx="12192000" cy="68262"/>
          </a:xfrm>
          <a:prstGeom prst="rect">
            <a:avLst/>
          </a:prstGeom>
          <a:solidFill>
            <a:srgbClr val="00A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sp>
        <p:nvSpPr>
          <p:cNvPr id="10" name="Fußzeilenplatzhalter 12">
            <a:extLst>
              <a:ext uri="{FF2B5EF4-FFF2-40B4-BE49-F238E27FC236}">
                <a16:creationId xmlns:a16="http://schemas.microsoft.com/office/drawing/2014/main" id="{783AA3FD-B3F6-4BCC-A437-23D9555B6486}"/>
              </a:ext>
            </a:extLst>
          </p:cNvPr>
          <p:cNvSpPr>
            <a:spLocks noGrp="1"/>
          </p:cNvSpPr>
          <p:nvPr>
            <p:ph type="ftr" sz="quarter" idx="3"/>
          </p:nvPr>
        </p:nvSpPr>
        <p:spPr>
          <a:xfrm>
            <a:off x="1566988" y="6584720"/>
            <a:ext cx="9058033" cy="139606"/>
          </a:xfrm>
          <a:prstGeom prst="rect">
            <a:avLst/>
          </a:prstGeom>
        </p:spPr>
        <p:txBody>
          <a:bodyPr vert="horz" lIns="0" tIns="0" rIns="0" bIns="0" rtlCol="0" anchor="ctr">
            <a:noAutofit/>
          </a:bodyPr>
          <a:lstStyle>
            <a:lvl1pPr algn="l">
              <a:defRPr sz="810">
                <a:solidFill>
                  <a:schemeClr val="accent3"/>
                </a:solidFill>
              </a:defRPr>
            </a:lvl1pPr>
          </a:lstStyle>
          <a:p>
            <a:pPr>
              <a:defRPr/>
            </a:pPr>
            <a:r>
              <a:rPr lang="de-DE">
                <a:solidFill>
                  <a:srgbClr val="889194"/>
                </a:solidFill>
              </a:rPr>
              <a:t>ABBA </a:t>
            </a:r>
            <a:r>
              <a:rPr lang="de-DE"/>
              <a:t>| Vortragende*r </a:t>
            </a:r>
            <a:endParaRPr lang="en-US"/>
          </a:p>
        </p:txBody>
      </p:sp>
      <p:sp>
        <p:nvSpPr>
          <p:cNvPr id="11" name="Inhaltsplatzhalter 7">
            <a:extLst>
              <a:ext uri="{FF2B5EF4-FFF2-40B4-BE49-F238E27FC236}">
                <a16:creationId xmlns:a16="http://schemas.microsoft.com/office/drawing/2014/main" id="{6422D8EC-C3CA-413D-B435-E23AABA20096}"/>
              </a:ext>
            </a:extLst>
          </p:cNvPr>
          <p:cNvSpPr>
            <a:spLocks noGrp="1"/>
          </p:cNvSpPr>
          <p:nvPr>
            <p:ph sz="quarter" idx="17" hasCustomPrompt="1"/>
          </p:nvPr>
        </p:nvSpPr>
        <p:spPr>
          <a:xfrm>
            <a:off x="552000" y="6201002"/>
            <a:ext cx="11088000" cy="144006"/>
          </a:xfrm>
        </p:spPr>
        <p:txBody>
          <a:bodyPr anchor="b"/>
          <a:lstStyle>
            <a:lvl1pPr marL="0" indent="0" algn="r">
              <a:buNone/>
              <a:defRPr sz="946" i="1">
                <a:solidFill>
                  <a:schemeClr val="accent3"/>
                </a:solidFill>
              </a:defRPr>
            </a:lvl1pPr>
            <a:lvl2pPr>
              <a:defRPr sz="946">
                <a:solidFill>
                  <a:schemeClr val="accent2"/>
                </a:solidFill>
              </a:defRPr>
            </a:lvl2pPr>
            <a:lvl3pPr>
              <a:defRPr sz="900">
                <a:solidFill>
                  <a:schemeClr val="accent2"/>
                </a:solidFill>
              </a:defRPr>
            </a:lvl3pPr>
          </a:lstStyle>
          <a:p>
            <a:pPr lvl="0"/>
            <a:r>
              <a:rPr lang="de-DE"/>
              <a:t>Quelle(n): Lorem ipsum dolor sit amet</a:t>
            </a:r>
          </a:p>
        </p:txBody>
      </p:sp>
    </p:spTree>
    <p:extLst>
      <p:ext uri="{BB962C8B-B14F-4D97-AF65-F5344CB8AC3E}">
        <p14:creationId xmlns:p14="http://schemas.microsoft.com/office/powerpoint/2010/main" val="2623974869"/>
      </p:ext>
    </p:extLst>
  </p:cSld>
  <p:clrMapOvr>
    <a:masterClrMapping/>
  </p:clrMapOvr>
  <p:extLst>
    <p:ext uri="{DCECCB84-F9BA-43D5-87BE-67443E8EF086}">
      <p15:sldGuideLst xmlns:p15="http://schemas.microsoft.com/office/powerpoint/2012/main">
        <p15:guide id="1" orient="horz" pos="370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Zentrale Auss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lstStyle/>
          <a:p>
            <a:r>
              <a:rPr lang="de-DE"/>
              <a:t>Mastertitelformat bearbeiten</a:t>
            </a:r>
            <a:endParaRPr lang="en-US"/>
          </a:p>
        </p:txBody>
      </p:sp>
      <p:sp>
        <p:nvSpPr>
          <p:cNvPr id="3" name="Datumsplatzhalter 2">
            <a:extLst>
              <a:ext uri="{FF2B5EF4-FFF2-40B4-BE49-F238E27FC236}">
                <a16:creationId xmlns:a16="http://schemas.microsoft.com/office/drawing/2014/main" id="{105C2E51-7D0B-4A4D-8DC1-79065BA725FE}"/>
              </a:ext>
            </a:extLst>
          </p:cNvPr>
          <p:cNvSpPr>
            <a:spLocks noGrp="1"/>
          </p:cNvSpPr>
          <p:nvPr>
            <p:ph type="dt" sz="half" idx="10"/>
          </p:nvPr>
        </p:nvSpPr>
        <p:spPr/>
        <p:txBody>
          <a:bodyPr/>
          <a:lstStyle>
            <a:lvl1pPr>
              <a:defRPr>
                <a:solidFill>
                  <a:schemeClr val="accent3"/>
                </a:solidFill>
              </a:defRPr>
            </a:lvl1pPr>
          </a:lstStyle>
          <a:p>
            <a:fld id="{40D3C787-54A0-4FE9-99EA-CFE2CEB6908C}" type="datetime1">
              <a:rPr lang="de-DE" smtClean="0"/>
              <a:t>12.04.2024</a:t>
            </a:fld>
            <a:endParaRPr lang="en-US"/>
          </a:p>
        </p:txBody>
      </p:sp>
      <p:sp>
        <p:nvSpPr>
          <p:cNvPr id="5" name="Foliennummernplatzhalter 4">
            <a:extLst>
              <a:ext uri="{FF2B5EF4-FFF2-40B4-BE49-F238E27FC236}">
                <a16:creationId xmlns:a16="http://schemas.microsoft.com/office/drawing/2014/main" id="{EF1DBF68-B110-47AE-81D0-1A1BB377BEAF}"/>
              </a:ext>
            </a:extLst>
          </p:cNvPr>
          <p:cNvSpPr>
            <a:spLocks noGrp="1"/>
          </p:cNvSpPr>
          <p:nvPr>
            <p:ph type="sldNum" sz="quarter" idx="12"/>
          </p:nvPr>
        </p:nvSpPr>
        <p:spPr/>
        <p:txBody>
          <a:bodyPr/>
          <a:lstStyle>
            <a:lvl1pPr>
              <a:defRPr>
                <a:solidFill>
                  <a:schemeClr val="accent3"/>
                </a:solidFill>
              </a:defRPr>
            </a:lvl1pPr>
          </a:lstStyle>
          <a:p>
            <a:fld id="{64647E8F-5052-4581-98D0-7C32D5A45346}" type="slidenum">
              <a:rPr lang="en-US" smtClean="0"/>
              <a:pPr/>
              <a:t>‹Nr.›</a:t>
            </a:fld>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6848" y="1449389"/>
            <a:ext cx="11078306" cy="33513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0"/>
            <a:ext cx="12192000" cy="68262"/>
          </a:xfrm>
          <a:prstGeom prst="rect">
            <a:avLst/>
          </a:prstGeom>
          <a:solidFill>
            <a:srgbClr val="00A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extplatzhalter 14">
            <a:extLst>
              <a:ext uri="{FF2B5EF4-FFF2-40B4-BE49-F238E27FC236}">
                <a16:creationId xmlns:a16="http://schemas.microsoft.com/office/drawing/2014/main" id="{478AF313-00DB-484C-B8F3-CA93B007BA91}"/>
              </a:ext>
            </a:extLst>
          </p:cNvPr>
          <p:cNvSpPr>
            <a:spLocks noGrp="1"/>
          </p:cNvSpPr>
          <p:nvPr>
            <p:ph type="body" sz="quarter" idx="14"/>
          </p:nvPr>
        </p:nvSpPr>
        <p:spPr>
          <a:xfrm>
            <a:off x="556847" y="5265138"/>
            <a:ext cx="11078308" cy="936625"/>
          </a:xfrm>
          <a:solidFill>
            <a:schemeClr val="bg1"/>
          </a:solidFill>
          <a:effectLst>
            <a:outerShdw blurRad="63500" algn="ctr" rotWithShape="0">
              <a:prstClr val="black">
                <a:alpha val="40000"/>
              </a:prstClr>
            </a:outerShdw>
          </a:effectLst>
        </p:spPr>
        <p:txBody>
          <a:bodyPr lIns="432000" tIns="108000" rIns="180000" bIns="108000" anchor="ctr"/>
          <a:lstStyle>
            <a:lvl1pPr marL="0" indent="0">
              <a:buNone/>
              <a:defRPr/>
            </a:lvl1pPr>
          </a:lstStyle>
          <a:p>
            <a:pPr lvl="0"/>
            <a:endParaRPr lang="en-US"/>
          </a:p>
        </p:txBody>
      </p:sp>
      <p:sp>
        <p:nvSpPr>
          <p:cNvPr id="11" name="Textplatzhalter 14">
            <a:extLst>
              <a:ext uri="{FF2B5EF4-FFF2-40B4-BE49-F238E27FC236}">
                <a16:creationId xmlns:a16="http://schemas.microsoft.com/office/drawing/2014/main" id="{F8754C95-D129-476E-91CD-21BBFE8673FB}"/>
              </a:ext>
            </a:extLst>
          </p:cNvPr>
          <p:cNvSpPr>
            <a:spLocks noGrp="1"/>
          </p:cNvSpPr>
          <p:nvPr>
            <p:ph type="body" sz="quarter" idx="16" hasCustomPrompt="1"/>
          </p:nvPr>
        </p:nvSpPr>
        <p:spPr>
          <a:xfrm>
            <a:off x="556848" y="5265138"/>
            <a:ext cx="232507" cy="936625"/>
          </a:xfrm>
          <a:prstGeom prst="homePlate">
            <a:avLst>
              <a:gd name="adj" fmla="val 100000"/>
            </a:avLst>
          </a:prstGeom>
          <a:solidFill>
            <a:schemeClr val="tx2"/>
          </a:solidFill>
          <a:effectLst/>
        </p:spPr>
        <p:txBody>
          <a:bodyPr lIns="972000" tIns="108000" rIns="180000" bIns="108000" anchor="ctr"/>
          <a:lstStyle>
            <a:lvl1pPr marL="0" indent="0">
              <a:buNone/>
              <a:defRPr/>
            </a:lvl1pPr>
          </a:lstStyle>
          <a:p>
            <a:pPr lvl="0"/>
            <a:r>
              <a:rPr lang="de-DE"/>
              <a:t> </a:t>
            </a:r>
            <a:endParaRPr lang="en-US"/>
          </a:p>
        </p:txBody>
      </p:sp>
      <p:sp>
        <p:nvSpPr>
          <p:cNvPr id="10" name="Inhaltsplatzhalter 7">
            <a:extLst>
              <a:ext uri="{FF2B5EF4-FFF2-40B4-BE49-F238E27FC236}">
                <a16:creationId xmlns:a16="http://schemas.microsoft.com/office/drawing/2014/main" id="{5C168D74-58F1-4C54-8C34-1A3B728D1F52}"/>
              </a:ext>
            </a:extLst>
          </p:cNvPr>
          <p:cNvSpPr>
            <a:spLocks noGrp="1"/>
          </p:cNvSpPr>
          <p:nvPr>
            <p:ph sz="quarter" idx="17" hasCustomPrompt="1"/>
          </p:nvPr>
        </p:nvSpPr>
        <p:spPr>
          <a:xfrm>
            <a:off x="561052" y="4960917"/>
            <a:ext cx="11074102" cy="144007"/>
          </a:xfrm>
        </p:spPr>
        <p:txBody>
          <a:bodyPr anchor="b"/>
          <a:lstStyle>
            <a:lvl1pPr marL="0" indent="0" algn="r">
              <a:buNone/>
              <a:defRPr sz="1050" i="1">
                <a:solidFill>
                  <a:schemeClr val="accent3"/>
                </a:solidFill>
              </a:defRPr>
            </a:lvl1pPr>
            <a:lvl2pPr>
              <a:defRPr sz="1050">
                <a:solidFill>
                  <a:schemeClr val="accent2"/>
                </a:solidFill>
              </a:defRPr>
            </a:lvl2pPr>
            <a:lvl3pPr>
              <a:defRPr sz="1000">
                <a:solidFill>
                  <a:schemeClr val="accent2"/>
                </a:solidFill>
              </a:defRPr>
            </a:lvl3pPr>
          </a:lstStyle>
          <a:p>
            <a:pPr lvl="0"/>
            <a:r>
              <a:rPr lang="de-DE"/>
              <a:t>Quelle(n):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endParaRPr lang="de-DE"/>
          </a:p>
        </p:txBody>
      </p:sp>
      <p:sp>
        <p:nvSpPr>
          <p:cNvPr id="12" name="Fußzeilenplatzhalter 3">
            <a:extLst>
              <a:ext uri="{FF2B5EF4-FFF2-40B4-BE49-F238E27FC236}">
                <a16:creationId xmlns:a16="http://schemas.microsoft.com/office/drawing/2014/main" id="{BAA5ECA5-D42A-4536-8614-3DBEC2F9CCD4}"/>
              </a:ext>
            </a:extLst>
          </p:cNvPr>
          <p:cNvSpPr>
            <a:spLocks noGrp="1"/>
          </p:cNvSpPr>
          <p:nvPr>
            <p:ph type="ftr" sz="quarter" idx="11"/>
          </p:nvPr>
        </p:nvSpPr>
        <p:spPr>
          <a:xfrm>
            <a:off x="1566985" y="6584720"/>
            <a:ext cx="9058033" cy="139606"/>
          </a:xfrm>
        </p:spPr>
        <p:txBody>
          <a:bodyPr/>
          <a:lstStyle>
            <a:lvl1pPr>
              <a:defRPr>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solidFill>
                  <a:srgbClr val="889194"/>
                </a:solidFill>
              </a:rPr>
              <a:t>ABBA | Yorck Zisgen </a:t>
            </a:r>
            <a:endParaRPr kumimoji="0" lang="en-US" sz="900" b="0" i="0" u="none" strike="noStrike" kern="1200" cap="none" spc="0" normalizeH="0" baseline="0" noProof="0" dirty="0">
              <a:ln>
                <a:noFill/>
              </a:ln>
              <a:solidFill>
                <a:srgbClr val="889194"/>
              </a:solidFill>
              <a:effectLst/>
              <a:uLnTx/>
              <a:uFillTx/>
              <a:latin typeface="Trebuchet MS"/>
              <a:ea typeface="+mn-ea"/>
              <a:cs typeface="+mn-cs"/>
            </a:endParaRPr>
          </a:p>
        </p:txBody>
      </p:sp>
    </p:spTree>
    <p:extLst>
      <p:ext uri="{BB962C8B-B14F-4D97-AF65-F5344CB8AC3E}">
        <p14:creationId xmlns:p14="http://schemas.microsoft.com/office/powerpoint/2010/main" val="18629535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Inhalt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nchor="b"/>
          <a:lstStyle>
            <a:lvl1pPr>
              <a:defRPr/>
            </a:lvl1pPr>
          </a:lstStyle>
          <a:p>
            <a:r>
              <a:rPr lang="de-DE"/>
              <a:t>Mastertitelformat bearbeiten</a:t>
            </a:r>
            <a:endParaRPr lang="en-US"/>
          </a:p>
        </p:txBody>
      </p:sp>
      <p:sp>
        <p:nvSpPr>
          <p:cNvPr id="3" name="Datumsplatzhalter 2">
            <a:extLst>
              <a:ext uri="{FF2B5EF4-FFF2-40B4-BE49-F238E27FC236}">
                <a16:creationId xmlns:a16="http://schemas.microsoft.com/office/drawing/2014/main" id="{105C2E51-7D0B-4A4D-8DC1-79065BA725FE}"/>
              </a:ext>
            </a:extLst>
          </p:cNvPr>
          <p:cNvSpPr>
            <a:spLocks noGrp="1"/>
          </p:cNvSpPr>
          <p:nvPr>
            <p:ph type="dt" sz="half" idx="10"/>
          </p:nvPr>
        </p:nvSpPr>
        <p:spPr/>
        <p:txBody>
          <a:bodyPr/>
          <a:lstStyle/>
          <a:p>
            <a:r>
              <a:rPr lang="de-DE" dirty="0"/>
              <a:t>14.10.2022</a:t>
            </a:r>
            <a:endParaRPr lang="en-US" dirty="0"/>
          </a:p>
        </p:txBody>
      </p:sp>
      <p:sp>
        <p:nvSpPr>
          <p:cNvPr id="5" name="Foliennummernplatzhalter 4">
            <a:extLst>
              <a:ext uri="{FF2B5EF4-FFF2-40B4-BE49-F238E27FC236}">
                <a16:creationId xmlns:a16="http://schemas.microsoft.com/office/drawing/2014/main" id="{EF1DBF68-B110-47AE-81D0-1A1BB377BEAF}"/>
              </a:ext>
            </a:extLst>
          </p:cNvPr>
          <p:cNvSpPr>
            <a:spLocks noGrp="1"/>
          </p:cNvSpPr>
          <p:nvPr>
            <p:ph type="sldNum" sz="quarter" idx="12"/>
          </p:nvPr>
        </p:nvSpPr>
        <p:spPr/>
        <p:txBody>
          <a:bodyPr/>
          <a:lstStyle/>
          <a:p>
            <a:fld id="{64647E8F-5052-4581-98D0-7C32D5A45346}" type="slidenum">
              <a:rPr lang="en-US" smtClean="0"/>
              <a:pPr/>
              <a:t>‹Nr.›</a:t>
            </a:fld>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0801" y="1449388"/>
            <a:ext cx="11088000" cy="44275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0"/>
            <a:ext cx="12192000" cy="68262"/>
          </a:xfrm>
          <a:prstGeom prst="rect">
            <a:avLst/>
          </a:prstGeom>
          <a:solidFill>
            <a:srgbClr val="00A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ußzeilenplatzhalter 12">
            <a:extLst>
              <a:ext uri="{FF2B5EF4-FFF2-40B4-BE49-F238E27FC236}">
                <a16:creationId xmlns:a16="http://schemas.microsoft.com/office/drawing/2014/main" id="{783AA3FD-B3F6-4BCC-A437-23D9555B6486}"/>
              </a:ext>
            </a:extLst>
          </p:cNvPr>
          <p:cNvSpPr>
            <a:spLocks noGrp="1"/>
          </p:cNvSpPr>
          <p:nvPr>
            <p:ph type="ftr" sz="quarter" idx="3"/>
          </p:nvPr>
        </p:nvSpPr>
        <p:spPr>
          <a:xfrm>
            <a:off x="1566986" y="6584720"/>
            <a:ext cx="9058033" cy="139606"/>
          </a:xfrm>
          <a:prstGeom prst="rect">
            <a:avLst/>
          </a:prstGeom>
        </p:spPr>
        <p:txBody>
          <a:bodyPr vert="horz" lIns="0" tIns="0" rIns="0" bIns="0" rtlCol="0" anchor="ctr">
            <a:noAutofit/>
          </a:bodyPr>
          <a:lstStyle>
            <a:lvl1pPr algn="l">
              <a:defRPr sz="900">
                <a:solidFill>
                  <a:schemeClr val="accent2"/>
                </a:solidFill>
              </a:defRPr>
            </a:lvl1pPr>
          </a:lstStyle>
          <a:p>
            <a:pPr>
              <a:defRPr/>
            </a:pPr>
            <a:r>
              <a:rPr lang="de-DE" dirty="0">
                <a:solidFill>
                  <a:srgbClr val="8C8C8C"/>
                </a:solidFill>
              </a:rPr>
              <a:t> </a:t>
            </a:r>
            <a:r>
              <a:rPr lang="de-DE" dirty="0" err="1">
                <a:solidFill>
                  <a:srgbClr val="8C8C8C"/>
                </a:solidFill>
              </a:rPr>
              <a:t>Process</a:t>
            </a:r>
            <a:r>
              <a:rPr lang="de-DE" dirty="0">
                <a:solidFill>
                  <a:srgbClr val="8C8C8C"/>
                </a:solidFill>
              </a:rPr>
              <a:t>-Mining für interdisziplinäre Anwendungen</a:t>
            </a:r>
            <a:endParaRPr lang="en-US" dirty="0">
              <a:solidFill>
                <a:srgbClr val="8C8C8C"/>
              </a:solidFill>
            </a:endParaRPr>
          </a:p>
        </p:txBody>
      </p:sp>
      <p:sp>
        <p:nvSpPr>
          <p:cNvPr id="11" name="Inhaltsplatzhalter 7">
            <a:extLst>
              <a:ext uri="{FF2B5EF4-FFF2-40B4-BE49-F238E27FC236}">
                <a16:creationId xmlns:a16="http://schemas.microsoft.com/office/drawing/2014/main" id="{E2473E26-8325-4E87-9691-D050A7D7439E}"/>
              </a:ext>
            </a:extLst>
          </p:cNvPr>
          <p:cNvSpPr>
            <a:spLocks noGrp="1"/>
          </p:cNvSpPr>
          <p:nvPr>
            <p:ph sz="quarter" idx="17" hasCustomPrompt="1"/>
          </p:nvPr>
        </p:nvSpPr>
        <p:spPr>
          <a:xfrm>
            <a:off x="552000" y="6201000"/>
            <a:ext cx="11088000" cy="144006"/>
          </a:xfrm>
        </p:spPr>
        <p:txBody>
          <a:bodyPr anchor="b"/>
          <a:lstStyle>
            <a:lvl1pPr marL="0" indent="0" algn="r">
              <a:buNone/>
              <a:defRPr sz="1050" i="1">
                <a:solidFill>
                  <a:schemeClr val="accent2"/>
                </a:solidFill>
              </a:defRPr>
            </a:lvl1pPr>
            <a:lvl2pPr>
              <a:defRPr sz="1050">
                <a:solidFill>
                  <a:schemeClr val="accent2"/>
                </a:solidFill>
              </a:defRPr>
            </a:lvl2pPr>
            <a:lvl3pPr>
              <a:defRPr sz="1000">
                <a:solidFill>
                  <a:schemeClr val="accent2"/>
                </a:solidFill>
              </a:defRPr>
            </a:lvl3pPr>
          </a:lstStyle>
          <a:p>
            <a:pPr lvl="0"/>
            <a:r>
              <a:rPr lang="de-DE"/>
              <a:t>Quelle(n): Lorem ipsum dolor sit amet</a:t>
            </a:r>
          </a:p>
        </p:txBody>
      </p:sp>
    </p:spTree>
    <p:extLst>
      <p:ext uri="{BB962C8B-B14F-4D97-AF65-F5344CB8AC3E}">
        <p14:creationId xmlns:p14="http://schemas.microsoft.com/office/powerpoint/2010/main" val="2487990771"/>
      </p:ext>
    </p:extLst>
  </p:cSld>
  <p:clrMapOvr>
    <a:masterClrMapping/>
  </p:clrMapOvr>
  <p:extLst>
    <p:ext uri="{DCECCB84-F9BA-43D5-87BE-67443E8EF086}">
      <p15:sldGuideLst xmlns:p15="http://schemas.microsoft.com/office/powerpoint/2012/main">
        <p15:guide id="1" orient="horz" pos="370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194823"/>
            <a:ext cx="12192000" cy="1905"/>
          </a:xfrm>
          <a:custGeom>
            <a:avLst/>
            <a:gdLst/>
            <a:ahLst/>
            <a:cxnLst/>
            <a:rect l="l" t="t" r="r" b="b"/>
            <a:pathLst>
              <a:path w="9906000" h="1905">
                <a:moveTo>
                  <a:pt x="9906000" y="1524"/>
                </a:moveTo>
                <a:lnTo>
                  <a:pt x="0" y="0"/>
                </a:lnTo>
              </a:path>
            </a:pathLst>
          </a:custGeom>
          <a:ln w="9144">
            <a:solidFill>
              <a:srgbClr val="000000"/>
            </a:solidFill>
          </a:ln>
        </p:spPr>
        <p:txBody>
          <a:bodyPr wrap="square" lIns="0" tIns="0" rIns="0" bIns="0" rtlCol="0"/>
          <a:lstStyle/>
          <a:p>
            <a:endParaRPr sz="1800"/>
          </a:p>
        </p:txBody>
      </p:sp>
      <p:sp>
        <p:nvSpPr>
          <p:cNvPr id="2" name="Holder 2"/>
          <p:cNvSpPr>
            <a:spLocks noGrp="1"/>
          </p:cNvSpPr>
          <p:nvPr>
            <p:ph type="title"/>
          </p:nvPr>
        </p:nvSpPr>
        <p:spPr>
          <a:xfrm>
            <a:off x="191445" y="397840"/>
            <a:ext cx="11809108" cy="369332"/>
          </a:xfrm>
          <a:prstGeom prst="rect">
            <a:avLst/>
          </a:prstGeom>
        </p:spPr>
        <p:txBody>
          <a:bodyPr wrap="square" lIns="0" tIns="0" rIns="0" bIns="0">
            <a:spAutoFit/>
          </a:bodyPr>
          <a:lstStyle>
            <a:lvl1pPr>
              <a:defRPr sz="2400" b="1" i="0">
                <a:solidFill>
                  <a:srgbClr val="03895E"/>
                </a:solidFill>
                <a:latin typeface="Trebuchet MS"/>
                <a:cs typeface="Trebuchet MS"/>
              </a:defRPr>
            </a:lvl1pPr>
          </a:lstStyle>
          <a:p>
            <a:endParaRPr/>
          </a:p>
        </p:txBody>
      </p:sp>
      <p:sp>
        <p:nvSpPr>
          <p:cNvPr id="3" name="Holder 3"/>
          <p:cNvSpPr>
            <a:spLocks noGrp="1"/>
          </p:cNvSpPr>
          <p:nvPr>
            <p:ph type="body" idx="1"/>
          </p:nvPr>
        </p:nvSpPr>
        <p:spPr>
          <a:xfrm>
            <a:off x="287860" y="1274313"/>
            <a:ext cx="11616287" cy="276999"/>
          </a:xfrm>
          <a:prstGeom prst="rect">
            <a:avLst/>
          </a:prstGeom>
        </p:spPr>
        <p:txBody>
          <a:bodyPr wrap="square" lIns="0" tIns="0" rIns="0" bIns="0">
            <a:spAutoFit/>
          </a:bodyPr>
          <a:lstStyle>
            <a:lvl1pPr>
              <a:defRPr b="0" i="0">
                <a:solidFill>
                  <a:schemeClr val="tx1"/>
                </a:solidFill>
              </a:defRPr>
            </a:lvl1pPr>
          </a:lstStyle>
          <a:p>
            <a:endParaRPr/>
          </a:p>
        </p:txBody>
      </p:sp>
      <p:sp>
        <p:nvSpPr>
          <p:cNvPr id="6" name="Holder 6"/>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Generative KI</a:t>
            </a:r>
          </a:p>
        </p:txBody>
      </p:sp>
      <p:sp>
        <p:nvSpPr>
          <p:cNvPr id="7" name="Holder 4">
            <a:extLst>
              <a:ext uri="{FF2B5EF4-FFF2-40B4-BE49-F238E27FC236}">
                <a16:creationId xmlns:a16="http://schemas.microsoft.com/office/drawing/2014/main" id="{A3F9874E-E514-4237-9274-088D1521FBE5}"/>
              </a:ext>
            </a:extLst>
          </p:cNvPr>
          <p:cNvSpPr>
            <a:spLocks noGrp="1"/>
          </p:cNvSpPr>
          <p:nvPr>
            <p:ph type="ftr" sz="quarter" idx="3"/>
          </p:nvPr>
        </p:nvSpPr>
        <p:spPr>
          <a:xfrm>
            <a:off x="10144212" y="6593532"/>
            <a:ext cx="1855372" cy="176972"/>
          </a:xfrm>
          <a:prstGeom prst="rect">
            <a:avLst/>
          </a:prstGeo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5" r:id="rId14"/>
    <p:sldLayoutId id="2147483676" r:id="rId15"/>
  </p:sldLayoutIdLst>
  <p:hf hdr="0" dt="0"/>
  <p:txStyles>
    <p:titleStyle>
      <a:lvl1pPr>
        <a:defRPr>
          <a:latin typeface="+mj-lt"/>
          <a:ea typeface="+mj-ea"/>
          <a:cs typeface="+mj-cs"/>
        </a:defRPr>
      </a:lvl1pPr>
    </p:titleStyle>
    <p:bodyStyle>
      <a:lvl1pPr marL="0">
        <a:defRPr>
          <a:latin typeface="+mn-lt"/>
          <a:ea typeface="+mn-ea"/>
          <a:cs typeface="+mn-cs"/>
        </a:defRPr>
      </a:lvl1pPr>
      <a:lvl2pPr marL="457212">
        <a:defRPr>
          <a:latin typeface="+mn-lt"/>
          <a:ea typeface="+mn-ea"/>
          <a:cs typeface="+mn-cs"/>
        </a:defRPr>
      </a:lvl2pPr>
      <a:lvl3pPr marL="914423">
        <a:defRPr>
          <a:latin typeface="+mn-lt"/>
          <a:ea typeface="+mn-ea"/>
          <a:cs typeface="+mn-cs"/>
        </a:defRPr>
      </a:lvl3pPr>
      <a:lvl4pPr marL="1371634">
        <a:defRPr>
          <a:latin typeface="+mn-lt"/>
          <a:ea typeface="+mn-ea"/>
          <a:cs typeface="+mn-cs"/>
        </a:defRPr>
      </a:lvl4pPr>
      <a:lvl5pPr marL="1828846">
        <a:defRPr>
          <a:latin typeface="+mn-lt"/>
          <a:ea typeface="+mn-ea"/>
          <a:cs typeface="+mn-cs"/>
        </a:defRPr>
      </a:lvl5pPr>
      <a:lvl6pPr marL="2286057">
        <a:defRPr>
          <a:latin typeface="+mn-lt"/>
          <a:ea typeface="+mn-ea"/>
          <a:cs typeface="+mn-cs"/>
        </a:defRPr>
      </a:lvl6pPr>
      <a:lvl7pPr marL="2743269">
        <a:defRPr>
          <a:latin typeface="+mn-lt"/>
          <a:ea typeface="+mn-ea"/>
          <a:cs typeface="+mn-cs"/>
        </a:defRPr>
      </a:lvl7pPr>
      <a:lvl8pPr marL="3200480">
        <a:defRPr>
          <a:latin typeface="+mn-lt"/>
          <a:ea typeface="+mn-ea"/>
          <a:cs typeface="+mn-cs"/>
        </a:defRPr>
      </a:lvl8pPr>
      <a:lvl9pPr marL="3657691">
        <a:defRPr>
          <a:latin typeface="+mn-lt"/>
          <a:ea typeface="+mn-ea"/>
          <a:cs typeface="+mn-cs"/>
        </a:defRPr>
      </a:lvl9pPr>
    </p:bodyStyle>
    <p:otherStyle>
      <a:lvl1pPr marL="0">
        <a:defRPr>
          <a:latin typeface="+mn-lt"/>
          <a:ea typeface="+mn-ea"/>
          <a:cs typeface="+mn-cs"/>
        </a:defRPr>
      </a:lvl1pPr>
      <a:lvl2pPr marL="457212">
        <a:defRPr>
          <a:latin typeface="+mn-lt"/>
          <a:ea typeface="+mn-ea"/>
          <a:cs typeface="+mn-cs"/>
        </a:defRPr>
      </a:lvl2pPr>
      <a:lvl3pPr marL="914423">
        <a:defRPr>
          <a:latin typeface="+mn-lt"/>
          <a:ea typeface="+mn-ea"/>
          <a:cs typeface="+mn-cs"/>
        </a:defRPr>
      </a:lvl3pPr>
      <a:lvl4pPr marL="1371634">
        <a:defRPr>
          <a:latin typeface="+mn-lt"/>
          <a:ea typeface="+mn-ea"/>
          <a:cs typeface="+mn-cs"/>
        </a:defRPr>
      </a:lvl4pPr>
      <a:lvl5pPr marL="1828846">
        <a:defRPr>
          <a:latin typeface="+mn-lt"/>
          <a:ea typeface="+mn-ea"/>
          <a:cs typeface="+mn-cs"/>
        </a:defRPr>
      </a:lvl5pPr>
      <a:lvl6pPr marL="2286057">
        <a:defRPr>
          <a:latin typeface="+mn-lt"/>
          <a:ea typeface="+mn-ea"/>
          <a:cs typeface="+mn-cs"/>
        </a:defRPr>
      </a:lvl6pPr>
      <a:lvl7pPr marL="2743269">
        <a:defRPr>
          <a:latin typeface="+mn-lt"/>
          <a:ea typeface="+mn-ea"/>
          <a:cs typeface="+mn-cs"/>
        </a:defRPr>
      </a:lvl7pPr>
      <a:lvl8pPr marL="3200480">
        <a:defRPr>
          <a:latin typeface="+mn-lt"/>
          <a:ea typeface="+mn-ea"/>
          <a:cs typeface="+mn-cs"/>
        </a:defRPr>
      </a:lvl8pPr>
      <a:lvl9pPr marL="365769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hyperlink" Target="https://elearning.uni-bayreuth.de/course/view.php?id=37168" TargetMode="External"/><Relationship Id="rId7" Type="http://schemas.openxmlformats.org/officeDocument/2006/relationships/hyperlink" Target="http://www.chatpdf.com/"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www.perplexity.ai/" TargetMode="External"/><Relationship Id="rId5" Type="http://schemas.openxmlformats.org/officeDocument/2006/relationships/hyperlink" Target="http://www.consensus.app/" TargetMode="External"/><Relationship Id="rId4" Type="http://schemas.openxmlformats.org/officeDocument/2006/relationships/hyperlink" Target="http://www.theresanaiforthat.com/"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6.jpe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 Id="rId9" Type="http://schemas.openxmlformats.org/officeDocument/2006/relationships/image" Target="../media/image32.png"/></Relationships>
</file>

<file path=ppt/slides/_rels/slide17.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image" Target="../media/image40.png"/><Relationship Id="rId3" Type="http://schemas.openxmlformats.org/officeDocument/2006/relationships/slideLayout" Target="../slideLayouts/slideLayout7.xml"/><Relationship Id="rId7" Type="http://schemas.openxmlformats.org/officeDocument/2006/relationships/image" Target="../media/image34.png"/><Relationship Id="rId12" Type="http://schemas.openxmlformats.org/officeDocument/2006/relationships/image" Target="../media/image39.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3.emf"/><Relationship Id="rId11" Type="http://schemas.openxmlformats.org/officeDocument/2006/relationships/image" Target="../media/image38.png"/><Relationship Id="rId5" Type="http://schemas.openxmlformats.org/officeDocument/2006/relationships/oleObject" Target="../embeddings/oleObject1.bin"/><Relationship Id="rId10" Type="http://schemas.openxmlformats.org/officeDocument/2006/relationships/image" Target="../media/image37.svg"/><Relationship Id="rId4" Type="http://schemas.openxmlformats.org/officeDocument/2006/relationships/notesSlide" Target="../notesSlides/notesSlide8.xml"/><Relationship Id="rId9" Type="http://schemas.openxmlformats.org/officeDocument/2006/relationships/image" Target="../media/image36.png"/><Relationship Id="rId14" Type="http://schemas.openxmlformats.org/officeDocument/2006/relationships/image" Target="../media/image41.svg"/></Relationships>
</file>

<file path=ppt/slides/_rels/slide18.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18" Type="http://schemas.openxmlformats.org/officeDocument/2006/relationships/image" Target="../media/image55.svg"/><Relationship Id="rId3" Type="http://schemas.openxmlformats.org/officeDocument/2006/relationships/slideLayout" Target="../slideLayouts/slideLayout8.xml"/><Relationship Id="rId7" Type="http://schemas.openxmlformats.org/officeDocument/2006/relationships/image" Target="../media/image44.png"/><Relationship Id="rId12" Type="http://schemas.openxmlformats.org/officeDocument/2006/relationships/image" Target="../media/image49.svg"/><Relationship Id="rId17" Type="http://schemas.openxmlformats.org/officeDocument/2006/relationships/image" Target="../media/image54.png"/><Relationship Id="rId2" Type="http://schemas.openxmlformats.org/officeDocument/2006/relationships/tags" Target="../tags/tag4.xml"/><Relationship Id="rId16" Type="http://schemas.openxmlformats.org/officeDocument/2006/relationships/image" Target="../media/image53.svg"/><Relationship Id="rId20" Type="http://schemas.openxmlformats.org/officeDocument/2006/relationships/image" Target="../media/image57.svg"/><Relationship Id="rId1" Type="http://schemas.openxmlformats.org/officeDocument/2006/relationships/tags" Target="../tags/tag3.xml"/><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svg"/><Relationship Id="rId19" Type="http://schemas.openxmlformats.org/officeDocument/2006/relationships/image" Target="../media/image56.png"/><Relationship Id="rId4" Type="http://schemas.openxmlformats.org/officeDocument/2006/relationships/notesSlide" Target="../notesSlides/notesSlide9.xml"/><Relationship Id="rId9" Type="http://schemas.openxmlformats.org/officeDocument/2006/relationships/image" Target="../media/image46.png"/><Relationship Id="rId14" Type="http://schemas.openxmlformats.org/officeDocument/2006/relationships/image" Target="../media/image51.svg"/></Relationships>
</file>

<file path=ppt/slides/_rels/slide19.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png"/><Relationship Id="rId1" Type="http://schemas.openxmlformats.org/officeDocument/2006/relationships/slideLayout" Target="../slideLayouts/slideLayout9.xml"/><Relationship Id="rId6" Type="http://schemas.openxmlformats.org/officeDocument/2006/relationships/image" Target="../media/image62.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jpe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image" Target="../media/image70.jpeg"/><Relationship Id="rId5" Type="http://schemas.openxmlformats.org/officeDocument/2006/relationships/image" Target="../media/image69.png"/><Relationship Id="rId4" Type="http://schemas.openxmlformats.org/officeDocument/2006/relationships/image" Target="../media/image68.jpeg"/></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72.svg"/></Relationships>
</file>

<file path=ppt/slides/_rels/slide2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image" Target="../media/image74.png"/><Relationship Id="rId3" Type="http://schemas.openxmlformats.org/officeDocument/2006/relationships/diagramData" Target="../diagrams/data1.xml"/><Relationship Id="rId21" Type="http://schemas.openxmlformats.org/officeDocument/2006/relationships/image" Target="../media/image77.svg"/><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12.xml"/><Relationship Id="rId16" Type="http://schemas.openxmlformats.org/officeDocument/2006/relationships/diagramColors" Target="../diagrams/colors3.xml"/><Relationship Id="rId20" Type="http://schemas.openxmlformats.org/officeDocument/2006/relationships/image" Target="../media/image76.png"/><Relationship Id="rId1" Type="http://schemas.openxmlformats.org/officeDocument/2006/relationships/slideLayout" Target="../slideLayouts/slideLayout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image" Target="../media/image79.svg"/><Relationship Id="rId10" Type="http://schemas.openxmlformats.org/officeDocument/2006/relationships/diagramQuickStyle" Target="../diagrams/quickStyle2.xml"/><Relationship Id="rId19" Type="http://schemas.openxmlformats.org/officeDocument/2006/relationships/image" Target="../media/image75.svg"/><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openxmlformats.org/officeDocument/2006/relationships/image" Target="../media/image78.png"/></Relationships>
</file>

<file path=ppt/slides/_rels/slide2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image" Target="../media/image81.svg"/></Relationships>
</file>

<file path=ppt/slides/_rels/slide2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81.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85.jpeg"/></Relationships>
</file>

<file path=ppt/slides/_rels/slide2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87.svg"/><Relationship Id="rId5" Type="http://schemas.openxmlformats.org/officeDocument/2006/relationships/image" Target="../media/image86.png"/><Relationship Id="rId4" Type="http://schemas.openxmlformats.org/officeDocument/2006/relationships/image" Target="../media/image81.svg"/></Relationships>
</file>

<file path=ppt/slides/_rels/slide2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81.sv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image" Target="../media/image81.svg"/></Relationships>
</file>

<file path=ppt/slides/_rels/slide3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95.png"/><Relationship Id="rId7" Type="http://schemas.openxmlformats.org/officeDocument/2006/relationships/diagramQuickStyle" Target="../diagrams/quickStyle4.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96.svg"/><Relationship Id="rId9" Type="http://schemas.microsoft.com/office/2007/relationships/diagramDrawing" Target="../diagrams/drawing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9.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99.jp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2.xml"/><Relationship Id="rId4" Type="http://schemas.openxmlformats.org/officeDocument/2006/relationships/image" Target="../media/image22.jpeg"/></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0B9F86D-6D60-E00F-276D-D5A905B6A3A4}"/>
              </a:ext>
            </a:extLst>
          </p:cNvPr>
          <p:cNvSpPr>
            <a:spLocks noGrp="1"/>
          </p:cNvSpPr>
          <p:nvPr>
            <p:ph type="title"/>
          </p:nvPr>
        </p:nvSpPr>
        <p:spPr>
          <a:xfrm>
            <a:off x="4548557" y="1397593"/>
            <a:ext cx="7092583" cy="387798"/>
          </a:xfrm>
        </p:spPr>
        <p:txBody>
          <a:bodyPr/>
          <a:lstStyle/>
          <a:p>
            <a:r>
              <a:rPr lang="de-DE" dirty="0">
                <a:solidFill>
                  <a:srgbClr val="00A070"/>
                </a:solidFill>
              </a:rPr>
              <a:t>Generative KI</a:t>
            </a:r>
          </a:p>
        </p:txBody>
      </p:sp>
      <p:sp>
        <p:nvSpPr>
          <p:cNvPr id="3" name="Textplatzhalter 2">
            <a:extLst>
              <a:ext uri="{FF2B5EF4-FFF2-40B4-BE49-F238E27FC236}">
                <a16:creationId xmlns:a16="http://schemas.microsoft.com/office/drawing/2014/main" id="{A7A3762C-EB42-835C-6B73-350902E1E113}"/>
              </a:ext>
            </a:extLst>
          </p:cNvPr>
          <p:cNvSpPr>
            <a:spLocks noGrp="1"/>
          </p:cNvSpPr>
          <p:nvPr>
            <p:ph type="body" sz="quarter" idx="14"/>
          </p:nvPr>
        </p:nvSpPr>
        <p:spPr/>
        <p:txBody>
          <a:bodyPr vert="horz" wrap="square" lIns="0" tIns="0" rIns="0" bIns="0" rtlCol="0" anchor="t">
            <a:noAutofit/>
          </a:bodyPr>
          <a:lstStyle/>
          <a:p>
            <a:r>
              <a:rPr lang="de-DE" dirty="0"/>
              <a:t>Kapitel 1</a:t>
            </a:r>
          </a:p>
        </p:txBody>
      </p:sp>
      <p:sp>
        <p:nvSpPr>
          <p:cNvPr id="4" name="Textplatzhalter 3">
            <a:extLst>
              <a:ext uri="{FF2B5EF4-FFF2-40B4-BE49-F238E27FC236}">
                <a16:creationId xmlns:a16="http://schemas.microsoft.com/office/drawing/2014/main" id="{1AE12F49-58D9-6E24-4A57-05D2127AF077}"/>
              </a:ext>
            </a:extLst>
          </p:cNvPr>
          <p:cNvSpPr>
            <a:spLocks noGrp="1"/>
          </p:cNvSpPr>
          <p:nvPr>
            <p:ph type="body" sz="quarter" idx="15"/>
          </p:nvPr>
        </p:nvSpPr>
        <p:spPr>
          <a:xfrm>
            <a:off x="4548557" y="3045601"/>
            <a:ext cx="7092583" cy="332399"/>
          </a:xfrm>
        </p:spPr>
        <p:txBody>
          <a:bodyPr/>
          <a:lstStyle/>
          <a:p>
            <a:r>
              <a:rPr lang="de-DE" dirty="0"/>
              <a:t>Prof. Dr. Agnes Koschmider </a:t>
            </a:r>
          </a:p>
          <a:p>
            <a:endParaRPr lang="de-DE" dirty="0"/>
          </a:p>
        </p:txBody>
      </p:sp>
      <p:pic>
        <p:nvPicPr>
          <p:cNvPr id="6" name="Bildplatzhalter 5" descr="Ein Bild, das Zahnrad, Metallwaren, Rad, Transport enthält.&#10;&#10;Beschreibung automatisch generiert.">
            <a:extLst>
              <a:ext uri="{FF2B5EF4-FFF2-40B4-BE49-F238E27FC236}">
                <a16:creationId xmlns:a16="http://schemas.microsoft.com/office/drawing/2014/main" id="{0411BD4D-BF57-15A1-D3E4-19FF9299165C}"/>
              </a:ext>
            </a:extLst>
          </p:cNvPr>
          <p:cNvPicPr>
            <a:picLocks noGrp="1" noChangeAspect="1"/>
          </p:cNvPicPr>
          <p:nvPr>
            <p:ph type="pic" sz="quarter" idx="13"/>
          </p:nvPr>
        </p:nvPicPr>
        <p:blipFill>
          <a:blip r:embed="rId3"/>
          <a:srcRect l="8956" r="8956"/>
          <a:stretch/>
        </p:blipFill>
        <p:spPr>
          <a:xfrm>
            <a:off x="1" y="68263"/>
            <a:ext cx="4114800" cy="6789737"/>
          </a:xfrm>
        </p:spPr>
      </p:pic>
    </p:spTree>
    <p:extLst>
      <p:ext uri="{BB962C8B-B14F-4D97-AF65-F5344CB8AC3E}">
        <p14:creationId xmlns:p14="http://schemas.microsoft.com/office/powerpoint/2010/main" val="27271488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F253FB-5355-4788-B5DC-FD2DF217DC6B}"/>
              </a:ext>
            </a:extLst>
          </p:cNvPr>
          <p:cNvSpPr>
            <a:spLocks noGrp="1"/>
          </p:cNvSpPr>
          <p:nvPr>
            <p:ph type="title"/>
          </p:nvPr>
        </p:nvSpPr>
        <p:spPr/>
        <p:txBody>
          <a:bodyPr/>
          <a:lstStyle/>
          <a:p>
            <a:r>
              <a:rPr lang="de-DE" dirty="0"/>
              <a:t>Kurs-Übersicht „Wirtschaftsinformatik und </a:t>
            </a:r>
            <a:r>
              <a:rPr lang="de-DE" dirty="0" err="1"/>
              <a:t>Process</a:t>
            </a:r>
            <a:r>
              <a:rPr lang="de-DE" dirty="0"/>
              <a:t> Analytics“</a:t>
            </a:r>
          </a:p>
        </p:txBody>
      </p:sp>
      <p:sp>
        <p:nvSpPr>
          <p:cNvPr id="3" name="Textplatzhalter 2">
            <a:extLst>
              <a:ext uri="{FF2B5EF4-FFF2-40B4-BE49-F238E27FC236}">
                <a16:creationId xmlns:a16="http://schemas.microsoft.com/office/drawing/2014/main" id="{15329D51-ACB5-4F1B-A6A0-6C46A68FC241}"/>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C56D9047-3817-45A0-AA00-3E34606C10CF}"/>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10</a:t>
            </a:fld>
            <a:r>
              <a:rPr lang="de-DE" spc="-10" dirty="0"/>
              <a:t> • </a:t>
            </a:r>
            <a:r>
              <a:rPr lang="de-DE" spc="-5" dirty="0"/>
              <a:t>Prof. </a:t>
            </a:r>
            <a:r>
              <a:rPr lang="de-DE" spc="-10" dirty="0"/>
              <a:t>Dr. Agnes Koschmider • Generative KI</a:t>
            </a:r>
          </a:p>
        </p:txBody>
      </p:sp>
      <p:sp>
        <p:nvSpPr>
          <p:cNvPr id="5" name="Fußzeilenplatzhalter 4">
            <a:extLst>
              <a:ext uri="{FF2B5EF4-FFF2-40B4-BE49-F238E27FC236}">
                <a16:creationId xmlns:a16="http://schemas.microsoft.com/office/drawing/2014/main" id="{799F107D-AD5E-4C5C-9626-3B3C5199F5BD}"/>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
        <p:nvSpPr>
          <p:cNvPr id="6" name="Abgerundetes Rechteck 10">
            <a:extLst>
              <a:ext uri="{FF2B5EF4-FFF2-40B4-BE49-F238E27FC236}">
                <a16:creationId xmlns:a16="http://schemas.microsoft.com/office/drawing/2014/main" id="{186B041D-F833-450F-BFD3-D4ADD0822C6A}"/>
              </a:ext>
            </a:extLst>
          </p:cNvPr>
          <p:cNvSpPr/>
          <p:nvPr/>
        </p:nvSpPr>
        <p:spPr>
          <a:xfrm>
            <a:off x="4178753" y="3624604"/>
            <a:ext cx="1580936" cy="633382"/>
          </a:xfrm>
          <a:prstGeom prst="roundRect">
            <a:avLst/>
          </a:prstGeom>
          <a:solidFill>
            <a:srgbClr val="03895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p>
        </p:txBody>
      </p:sp>
      <p:sp>
        <p:nvSpPr>
          <p:cNvPr id="7" name="Abgerundetes Rechteck 11">
            <a:extLst>
              <a:ext uri="{FF2B5EF4-FFF2-40B4-BE49-F238E27FC236}">
                <a16:creationId xmlns:a16="http://schemas.microsoft.com/office/drawing/2014/main" id="{F747AFC8-BDA6-43AF-86EF-B740A531EBA5}"/>
              </a:ext>
            </a:extLst>
          </p:cNvPr>
          <p:cNvSpPr/>
          <p:nvPr/>
        </p:nvSpPr>
        <p:spPr>
          <a:xfrm>
            <a:off x="5842012" y="3624604"/>
            <a:ext cx="1580936" cy="633382"/>
          </a:xfrm>
          <a:prstGeom prst="roundRect">
            <a:avLst/>
          </a:prstGeom>
          <a:solidFill>
            <a:srgbClr val="03895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solidFill>
                <a:schemeClr val="tx1"/>
              </a:solidFill>
            </a:endParaRPr>
          </a:p>
        </p:txBody>
      </p:sp>
      <p:sp>
        <p:nvSpPr>
          <p:cNvPr id="8" name="Abgerundetes Rechteck 12">
            <a:extLst>
              <a:ext uri="{FF2B5EF4-FFF2-40B4-BE49-F238E27FC236}">
                <a16:creationId xmlns:a16="http://schemas.microsoft.com/office/drawing/2014/main" id="{8EFA2543-32A5-4944-9D90-922B1DACA7D1}"/>
              </a:ext>
            </a:extLst>
          </p:cNvPr>
          <p:cNvSpPr/>
          <p:nvPr/>
        </p:nvSpPr>
        <p:spPr>
          <a:xfrm>
            <a:off x="7523752" y="3614524"/>
            <a:ext cx="1580935" cy="633382"/>
          </a:xfrm>
          <a:prstGeom prst="roundRect">
            <a:avLst/>
          </a:prstGeom>
          <a:solidFill>
            <a:srgbClr val="03895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solidFill>
                <a:schemeClr val="tx1"/>
              </a:solidFill>
            </a:endParaRPr>
          </a:p>
        </p:txBody>
      </p:sp>
      <p:sp>
        <p:nvSpPr>
          <p:cNvPr id="9" name="Abgerundetes Rechteck 13">
            <a:extLst>
              <a:ext uri="{FF2B5EF4-FFF2-40B4-BE49-F238E27FC236}">
                <a16:creationId xmlns:a16="http://schemas.microsoft.com/office/drawing/2014/main" id="{5FE4166A-AD71-4096-8867-25F527C3AB03}"/>
              </a:ext>
            </a:extLst>
          </p:cNvPr>
          <p:cNvSpPr/>
          <p:nvPr/>
        </p:nvSpPr>
        <p:spPr>
          <a:xfrm>
            <a:off x="7523752" y="2147832"/>
            <a:ext cx="1580935" cy="1389409"/>
          </a:xfrm>
          <a:prstGeom prst="roundRect">
            <a:avLst/>
          </a:prstGeom>
          <a:solidFill>
            <a:srgbClr val="03895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p>
        </p:txBody>
      </p:sp>
      <p:sp>
        <p:nvSpPr>
          <p:cNvPr id="10" name="Abgerundetes Rechteck 14">
            <a:extLst>
              <a:ext uri="{FF2B5EF4-FFF2-40B4-BE49-F238E27FC236}">
                <a16:creationId xmlns:a16="http://schemas.microsoft.com/office/drawing/2014/main" id="{F72EC087-9175-4325-BCA6-AAC62C1FF953}"/>
              </a:ext>
            </a:extLst>
          </p:cNvPr>
          <p:cNvSpPr/>
          <p:nvPr/>
        </p:nvSpPr>
        <p:spPr>
          <a:xfrm>
            <a:off x="5858812" y="2147832"/>
            <a:ext cx="1580936" cy="1370928"/>
          </a:xfrm>
          <a:prstGeom prst="roundRect">
            <a:avLst/>
          </a:prstGeom>
          <a:solidFill>
            <a:srgbClr val="03895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p>
        </p:txBody>
      </p:sp>
      <p:sp>
        <p:nvSpPr>
          <p:cNvPr id="11" name="Abgerundetes Rechteck 15">
            <a:extLst>
              <a:ext uri="{FF2B5EF4-FFF2-40B4-BE49-F238E27FC236}">
                <a16:creationId xmlns:a16="http://schemas.microsoft.com/office/drawing/2014/main" id="{7BD6667D-2C94-41EF-82E8-F682EC1F6F58}"/>
              </a:ext>
            </a:extLst>
          </p:cNvPr>
          <p:cNvSpPr/>
          <p:nvPr/>
        </p:nvSpPr>
        <p:spPr>
          <a:xfrm>
            <a:off x="4178753" y="2147832"/>
            <a:ext cx="1580936" cy="1370928"/>
          </a:xfrm>
          <a:prstGeom prst="roundRect">
            <a:avLst/>
          </a:prstGeom>
          <a:solidFill>
            <a:srgbClr val="03895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p>
        </p:txBody>
      </p:sp>
      <p:sp>
        <p:nvSpPr>
          <p:cNvPr id="12" name="Textfeld 16">
            <a:extLst>
              <a:ext uri="{FF2B5EF4-FFF2-40B4-BE49-F238E27FC236}">
                <a16:creationId xmlns:a16="http://schemas.microsoft.com/office/drawing/2014/main" id="{13583962-22BF-4795-927A-BDAB3B012563}"/>
              </a:ext>
            </a:extLst>
          </p:cNvPr>
          <p:cNvSpPr txBox="1">
            <a:spLocks noChangeArrowheads="1"/>
          </p:cNvSpPr>
          <p:nvPr/>
        </p:nvSpPr>
        <p:spPr bwMode="auto">
          <a:xfrm>
            <a:off x="4343400" y="2147832"/>
            <a:ext cx="1326004"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eaLnBrk="1" hangingPunct="1"/>
            <a:r>
              <a:rPr lang="de-DE" altLang="de-DE" sz="1900" dirty="0">
                <a:solidFill>
                  <a:schemeClr val="bg1"/>
                </a:solidFill>
              </a:rPr>
              <a:t>Bestellung</a:t>
            </a:r>
          </a:p>
        </p:txBody>
      </p:sp>
      <p:sp>
        <p:nvSpPr>
          <p:cNvPr id="13" name="Textfeld 17">
            <a:extLst>
              <a:ext uri="{FF2B5EF4-FFF2-40B4-BE49-F238E27FC236}">
                <a16:creationId xmlns:a16="http://schemas.microsoft.com/office/drawing/2014/main" id="{28F13B97-4028-4569-9244-B2F213D69A3C}"/>
              </a:ext>
            </a:extLst>
          </p:cNvPr>
          <p:cNvSpPr txBox="1">
            <a:spLocks noChangeArrowheads="1"/>
          </p:cNvSpPr>
          <p:nvPr/>
        </p:nvSpPr>
        <p:spPr bwMode="auto">
          <a:xfrm>
            <a:off x="5961944" y="2181089"/>
            <a:ext cx="1353256"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eaLnBrk="1" hangingPunct="1"/>
            <a:r>
              <a:rPr lang="de-DE" altLang="de-DE" sz="1900" dirty="0">
                <a:solidFill>
                  <a:schemeClr val="bg1"/>
                </a:solidFill>
              </a:rPr>
              <a:t>Produktion</a:t>
            </a:r>
          </a:p>
        </p:txBody>
      </p:sp>
      <p:sp>
        <p:nvSpPr>
          <p:cNvPr id="14" name="Textfeld 18">
            <a:extLst>
              <a:ext uri="{FF2B5EF4-FFF2-40B4-BE49-F238E27FC236}">
                <a16:creationId xmlns:a16="http://schemas.microsoft.com/office/drawing/2014/main" id="{96211699-F5F8-4209-B231-133306857431}"/>
              </a:ext>
            </a:extLst>
          </p:cNvPr>
          <p:cNvSpPr txBox="1">
            <a:spLocks noChangeArrowheads="1"/>
          </p:cNvSpPr>
          <p:nvPr/>
        </p:nvSpPr>
        <p:spPr bwMode="auto">
          <a:xfrm>
            <a:off x="7772400" y="2181089"/>
            <a:ext cx="1011815"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eaLnBrk="1" hangingPunct="1"/>
            <a:r>
              <a:rPr lang="de-DE" altLang="de-DE" sz="1900" dirty="0">
                <a:solidFill>
                  <a:schemeClr val="bg1"/>
                </a:solidFill>
              </a:rPr>
              <a:t>Kontakt</a:t>
            </a:r>
          </a:p>
        </p:txBody>
      </p:sp>
      <p:sp>
        <p:nvSpPr>
          <p:cNvPr id="15" name="Abgerundetes Rechteck 19">
            <a:extLst>
              <a:ext uri="{FF2B5EF4-FFF2-40B4-BE49-F238E27FC236}">
                <a16:creationId xmlns:a16="http://schemas.microsoft.com/office/drawing/2014/main" id="{08D3C611-D7FD-4E9E-8483-3391B10697F8}"/>
              </a:ext>
            </a:extLst>
          </p:cNvPr>
          <p:cNvSpPr/>
          <p:nvPr/>
        </p:nvSpPr>
        <p:spPr>
          <a:xfrm>
            <a:off x="4619918" y="2820750"/>
            <a:ext cx="403214" cy="263770"/>
          </a:xfrm>
          <a:prstGeom prst="roundRect">
            <a:avLst/>
          </a:prstGeom>
          <a:solidFill>
            <a:srgbClr val="E1FF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p>
        </p:txBody>
      </p:sp>
      <p:sp>
        <p:nvSpPr>
          <p:cNvPr id="16" name="Abgerundetes Rechteck 20">
            <a:extLst>
              <a:ext uri="{FF2B5EF4-FFF2-40B4-BE49-F238E27FC236}">
                <a16:creationId xmlns:a16="http://schemas.microsoft.com/office/drawing/2014/main" id="{0BC4B839-628C-4568-8D38-C9FC9F8329DF}"/>
              </a:ext>
            </a:extLst>
          </p:cNvPr>
          <p:cNvSpPr/>
          <p:nvPr/>
        </p:nvSpPr>
        <p:spPr>
          <a:xfrm>
            <a:off x="6422622" y="2674586"/>
            <a:ext cx="403214" cy="263769"/>
          </a:xfrm>
          <a:prstGeom prst="roundRect">
            <a:avLst/>
          </a:prstGeom>
          <a:solidFill>
            <a:srgbClr val="E1FF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p>
        </p:txBody>
      </p:sp>
      <p:sp>
        <p:nvSpPr>
          <p:cNvPr id="17" name="Abgerundetes Rechteck 21">
            <a:extLst>
              <a:ext uri="{FF2B5EF4-FFF2-40B4-BE49-F238E27FC236}">
                <a16:creationId xmlns:a16="http://schemas.microsoft.com/office/drawing/2014/main" id="{5B265DD3-5EC7-4615-BC1C-879C1BD25496}"/>
              </a:ext>
            </a:extLst>
          </p:cNvPr>
          <p:cNvSpPr/>
          <p:nvPr/>
        </p:nvSpPr>
        <p:spPr>
          <a:xfrm>
            <a:off x="6417581" y="3079479"/>
            <a:ext cx="403214" cy="263770"/>
          </a:xfrm>
          <a:prstGeom prst="roundRect">
            <a:avLst/>
          </a:prstGeom>
          <a:solidFill>
            <a:srgbClr val="E1FF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p>
        </p:txBody>
      </p:sp>
      <p:sp>
        <p:nvSpPr>
          <p:cNvPr id="18" name="Abgerundetes Rechteck 22">
            <a:extLst>
              <a:ext uri="{FF2B5EF4-FFF2-40B4-BE49-F238E27FC236}">
                <a16:creationId xmlns:a16="http://schemas.microsoft.com/office/drawing/2014/main" id="{B2E4ADB8-6921-4E08-B358-D89FC5419987}"/>
              </a:ext>
            </a:extLst>
          </p:cNvPr>
          <p:cNvSpPr/>
          <p:nvPr/>
        </p:nvSpPr>
        <p:spPr>
          <a:xfrm>
            <a:off x="8388290" y="2817390"/>
            <a:ext cx="403214" cy="263770"/>
          </a:xfrm>
          <a:prstGeom prst="roundRect">
            <a:avLst/>
          </a:prstGeom>
          <a:solidFill>
            <a:srgbClr val="E1FF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p>
        </p:txBody>
      </p:sp>
      <p:sp>
        <p:nvSpPr>
          <p:cNvPr id="19" name="Raute 18">
            <a:extLst>
              <a:ext uri="{FF2B5EF4-FFF2-40B4-BE49-F238E27FC236}">
                <a16:creationId xmlns:a16="http://schemas.microsoft.com/office/drawing/2014/main" id="{7C4F41B0-7189-41B2-B22B-EB2AE2FE86AC}"/>
              </a:ext>
            </a:extLst>
          </p:cNvPr>
          <p:cNvSpPr/>
          <p:nvPr/>
        </p:nvSpPr>
        <p:spPr>
          <a:xfrm>
            <a:off x="5260021" y="2740107"/>
            <a:ext cx="403214" cy="430095"/>
          </a:xfrm>
          <a:prstGeom prst="diamond">
            <a:avLst/>
          </a:prstGeom>
          <a:solidFill>
            <a:srgbClr val="E1FF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p>
        </p:txBody>
      </p:sp>
      <p:sp>
        <p:nvSpPr>
          <p:cNvPr id="20" name="Raute 19">
            <a:extLst>
              <a:ext uri="{FF2B5EF4-FFF2-40B4-BE49-F238E27FC236}">
                <a16:creationId xmlns:a16="http://schemas.microsoft.com/office/drawing/2014/main" id="{AC2940D2-5611-4A27-BED2-03E9E79DC4D4}"/>
              </a:ext>
            </a:extLst>
          </p:cNvPr>
          <p:cNvSpPr/>
          <p:nvPr/>
        </p:nvSpPr>
        <p:spPr>
          <a:xfrm>
            <a:off x="7743148" y="2733387"/>
            <a:ext cx="403214" cy="430095"/>
          </a:xfrm>
          <a:prstGeom prst="diamond">
            <a:avLst/>
          </a:prstGeom>
          <a:solidFill>
            <a:srgbClr val="E1FF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p>
        </p:txBody>
      </p:sp>
      <p:cxnSp>
        <p:nvCxnSpPr>
          <p:cNvPr id="21" name="Gewinkelte Verbindung 25">
            <a:extLst>
              <a:ext uri="{FF2B5EF4-FFF2-40B4-BE49-F238E27FC236}">
                <a16:creationId xmlns:a16="http://schemas.microsoft.com/office/drawing/2014/main" id="{FAF1876E-57A9-47F3-A248-B3F5D6830DDE}"/>
              </a:ext>
            </a:extLst>
          </p:cNvPr>
          <p:cNvCxnSpPr>
            <a:stCxn id="15" idx="3"/>
            <a:endCxn id="19" idx="1"/>
          </p:cNvCxnSpPr>
          <p:nvPr/>
        </p:nvCxnSpPr>
        <p:spPr>
          <a:xfrm>
            <a:off x="5023132" y="2953475"/>
            <a:ext cx="236889" cy="1680"/>
          </a:xfrm>
          <a:prstGeom prst="bentConnector3">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Gewinkelte Verbindung 26">
            <a:extLst>
              <a:ext uri="{FF2B5EF4-FFF2-40B4-BE49-F238E27FC236}">
                <a16:creationId xmlns:a16="http://schemas.microsoft.com/office/drawing/2014/main" id="{AF752625-185B-4E4E-B264-00C84F02DE01}"/>
              </a:ext>
            </a:extLst>
          </p:cNvPr>
          <p:cNvCxnSpPr>
            <a:endCxn id="16" idx="1"/>
          </p:cNvCxnSpPr>
          <p:nvPr/>
        </p:nvCxnSpPr>
        <p:spPr>
          <a:xfrm flipV="1">
            <a:off x="5646435" y="2805630"/>
            <a:ext cx="776187" cy="132724"/>
          </a:xfrm>
          <a:prstGeom prst="bentConnector3">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Gewinkelte Verbindung 27">
            <a:extLst>
              <a:ext uri="{FF2B5EF4-FFF2-40B4-BE49-F238E27FC236}">
                <a16:creationId xmlns:a16="http://schemas.microsoft.com/office/drawing/2014/main" id="{67097725-2D70-44C2-B145-87DECEA9C2CE}"/>
              </a:ext>
            </a:extLst>
          </p:cNvPr>
          <p:cNvCxnSpPr/>
          <p:nvPr/>
        </p:nvCxnSpPr>
        <p:spPr>
          <a:xfrm>
            <a:off x="5634674" y="2951794"/>
            <a:ext cx="782907" cy="255369"/>
          </a:xfrm>
          <a:prstGeom prst="bentConnector3">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Gewinkelte Verbindung 28">
            <a:extLst>
              <a:ext uri="{FF2B5EF4-FFF2-40B4-BE49-F238E27FC236}">
                <a16:creationId xmlns:a16="http://schemas.microsoft.com/office/drawing/2014/main" id="{D4387D5E-248E-4507-97AF-8037E9D98918}"/>
              </a:ext>
            </a:extLst>
          </p:cNvPr>
          <p:cNvCxnSpPr>
            <a:stCxn id="16" idx="3"/>
            <a:endCxn id="20" idx="1"/>
          </p:cNvCxnSpPr>
          <p:nvPr/>
        </p:nvCxnSpPr>
        <p:spPr>
          <a:xfrm>
            <a:off x="6825836" y="2805631"/>
            <a:ext cx="917312" cy="142804"/>
          </a:xfrm>
          <a:prstGeom prst="bentConnector3">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winkelte Verbindung 29">
            <a:extLst>
              <a:ext uri="{FF2B5EF4-FFF2-40B4-BE49-F238E27FC236}">
                <a16:creationId xmlns:a16="http://schemas.microsoft.com/office/drawing/2014/main" id="{1813F741-A9CE-4DED-90A0-FCD8013C7410}"/>
              </a:ext>
            </a:extLst>
          </p:cNvPr>
          <p:cNvCxnSpPr>
            <a:stCxn id="17" idx="3"/>
            <a:endCxn id="20" idx="1"/>
          </p:cNvCxnSpPr>
          <p:nvPr/>
        </p:nvCxnSpPr>
        <p:spPr>
          <a:xfrm flipV="1">
            <a:off x="6820795" y="2948434"/>
            <a:ext cx="922353" cy="262089"/>
          </a:xfrm>
          <a:prstGeom prst="bentConnector3">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Gewinkelte Verbindung 30">
            <a:extLst>
              <a:ext uri="{FF2B5EF4-FFF2-40B4-BE49-F238E27FC236}">
                <a16:creationId xmlns:a16="http://schemas.microsoft.com/office/drawing/2014/main" id="{7D049885-C493-4078-88AD-0968E0343F2F}"/>
              </a:ext>
            </a:extLst>
          </p:cNvPr>
          <p:cNvCxnSpPr/>
          <p:nvPr/>
        </p:nvCxnSpPr>
        <p:spPr>
          <a:xfrm>
            <a:off x="8146363" y="2951794"/>
            <a:ext cx="238568" cy="1681"/>
          </a:xfrm>
          <a:prstGeom prst="bentConnector3">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Rechteck 26">
            <a:extLst>
              <a:ext uri="{FF2B5EF4-FFF2-40B4-BE49-F238E27FC236}">
                <a16:creationId xmlns:a16="http://schemas.microsoft.com/office/drawing/2014/main" id="{422FE603-3608-4111-8872-FA4D250E19BA}"/>
              </a:ext>
            </a:extLst>
          </p:cNvPr>
          <p:cNvSpPr/>
          <p:nvPr/>
        </p:nvSpPr>
        <p:spPr>
          <a:xfrm>
            <a:off x="7859763" y="3718688"/>
            <a:ext cx="907232" cy="270489"/>
          </a:xfrm>
          <a:prstGeom prst="rect">
            <a:avLst/>
          </a:prstGeom>
          <a:solidFill>
            <a:srgbClr val="E1FF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solidFill>
                <a:schemeClr val="tx1"/>
              </a:solidFill>
            </a:endParaRPr>
          </a:p>
        </p:txBody>
      </p:sp>
      <p:sp>
        <p:nvSpPr>
          <p:cNvPr id="28" name="Textfeld 32">
            <a:extLst>
              <a:ext uri="{FF2B5EF4-FFF2-40B4-BE49-F238E27FC236}">
                <a16:creationId xmlns:a16="http://schemas.microsoft.com/office/drawing/2014/main" id="{E1B6D6E9-7774-4BE9-A3DD-72A86D9D2218}"/>
              </a:ext>
            </a:extLst>
          </p:cNvPr>
          <p:cNvSpPr txBox="1">
            <a:spLocks noChangeArrowheads="1"/>
          </p:cNvSpPr>
          <p:nvPr/>
        </p:nvSpPr>
        <p:spPr bwMode="auto">
          <a:xfrm>
            <a:off x="8005928" y="3681727"/>
            <a:ext cx="502061" cy="320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eaLnBrk="1" hangingPunct="1"/>
            <a:r>
              <a:rPr lang="de-DE" altLang="de-DE" sz="1482"/>
              <a:t>Log</a:t>
            </a:r>
          </a:p>
        </p:txBody>
      </p:sp>
      <p:sp>
        <p:nvSpPr>
          <p:cNvPr id="29" name="Rechteck 28">
            <a:extLst>
              <a:ext uri="{FF2B5EF4-FFF2-40B4-BE49-F238E27FC236}">
                <a16:creationId xmlns:a16="http://schemas.microsoft.com/office/drawing/2014/main" id="{236064FE-24E6-43A3-85B5-BB11921B4FB3}"/>
              </a:ext>
            </a:extLst>
          </p:cNvPr>
          <p:cNvSpPr/>
          <p:nvPr/>
        </p:nvSpPr>
        <p:spPr>
          <a:xfrm>
            <a:off x="6161224" y="3718688"/>
            <a:ext cx="905552" cy="270489"/>
          </a:xfrm>
          <a:prstGeom prst="rect">
            <a:avLst/>
          </a:prstGeom>
          <a:solidFill>
            <a:srgbClr val="E1FF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solidFill>
                <a:schemeClr val="tx1"/>
              </a:solidFill>
            </a:endParaRPr>
          </a:p>
        </p:txBody>
      </p:sp>
      <p:sp>
        <p:nvSpPr>
          <p:cNvPr id="30" name="Textfeld 34">
            <a:extLst>
              <a:ext uri="{FF2B5EF4-FFF2-40B4-BE49-F238E27FC236}">
                <a16:creationId xmlns:a16="http://schemas.microsoft.com/office/drawing/2014/main" id="{A4DDB251-7CFC-49C6-9943-6633DAE37917}"/>
              </a:ext>
            </a:extLst>
          </p:cNvPr>
          <p:cNvSpPr txBox="1">
            <a:spLocks noChangeArrowheads="1"/>
          </p:cNvSpPr>
          <p:nvPr/>
        </p:nvSpPr>
        <p:spPr bwMode="auto">
          <a:xfrm>
            <a:off x="6324189" y="3691807"/>
            <a:ext cx="502061" cy="320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eaLnBrk="1" hangingPunct="1"/>
            <a:r>
              <a:rPr lang="de-DE" altLang="de-DE" sz="1482"/>
              <a:t>Log</a:t>
            </a:r>
          </a:p>
        </p:txBody>
      </p:sp>
      <p:sp>
        <p:nvSpPr>
          <p:cNvPr id="31" name="Rechteck 30">
            <a:extLst>
              <a:ext uri="{FF2B5EF4-FFF2-40B4-BE49-F238E27FC236}">
                <a16:creationId xmlns:a16="http://schemas.microsoft.com/office/drawing/2014/main" id="{AA6E97E2-D0DD-4ED2-8E00-B46EBFCFB81D}"/>
              </a:ext>
            </a:extLst>
          </p:cNvPr>
          <p:cNvSpPr/>
          <p:nvPr/>
        </p:nvSpPr>
        <p:spPr>
          <a:xfrm>
            <a:off x="4447563" y="3718688"/>
            <a:ext cx="907232" cy="270489"/>
          </a:xfrm>
          <a:prstGeom prst="rect">
            <a:avLst/>
          </a:prstGeom>
          <a:solidFill>
            <a:srgbClr val="E1FF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solidFill>
                <a:schemeClr val="tx1"/>
              </a:solidFill>
            </a:endParaRPr>
          </a:p>
        </p:txBody>
      </p:sp>
      <p:sp>
        <p:nvSpPr>
          <p:cNvPr id="32" name="Textfeld 36">
            <a:extLst>
              <a:ext uri="{FF2B5EF4-FFF2-40B4-BE49-F238E27FC236}">
                <a16:creationId xmlns:a16="http://schemas.microsoft.com/office/drawing/2014/main" id="{96206F3E-CBF9-49AE-89D8-DF9AEE41BFC3}"/>
              </a:ext>
            </a:extLst>
          </p:cNvPr>
          <p:cNvSpPr txBox="1">
            <a:spLocks noChangeArrowheads="1"/>
          </p:cNvSpPr>
          <p:nvPr/>
        </p:nvSpPr>
        <p:spPr bwMode="auto">
          <a:xfrm>
            <a:off x="4649170" y="3691807"/>
            <a:ext cx="502061" cy="320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eaLnBrk="1" hangingPunct="1"/>
            <a:r>
              <a:rPr lang="de-DE" altLang="de-DE" sz="1482"/>
              <a:t>Log</a:t>
            </a:r>
          </a:p>
        </p:txBody>
      </p:sp>
      <p:sp>
        <p:nvSpPr>
          <p:cNvPr id="33" name="Abgerundetes Rechteck 41">
            <a:extLst>
              <a:ext uri="{FF2B5EF4-FFF2-40B4-BE49-F238E27FC236}">
                <a16:creationId xmlns:a16="http://schemas.microsoft.com/office/drawing/2014/main" id="{7EAEBCC9-4C1D-4F4D-A63C-2D21B4B1A33F}"/>
              </a:ext>
            </a:extLst>
          </p:cNvPr>
          <p:cNvSpPr/>
          <p:nvPr/>
        </p:nvSpPr>
        <p:spPr>
          <a:xfrm>
            <a:off x="4178753" y="4404615"/>
            <a:ext cx="4947774" cy="631702"/>
          </a:xfrm>
          <a:prstGeom prst="roundRect">
            <a:avLst/>
          </a:prstGeom>
          <a:solidFill>
            <a:srgbClr val="03895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p>
        </p:txBody>
      </p:sp>
      <p:sp>
        <p:nvSpPr>
          <p:cNvPr id="34" name="Textfeld 42">
            <a:extLst>
              <a:ext uri="{FF2B5EF4-FFF2-40B4-BE49-F238E27FC236}">
                <a16:creationId xmlns:a16="http://schemas.microsoft.com/office/drawing/2014/main" id="{DB275D13-42EC-4EE7-88B3-3C59AF54438A}"/>
              </a:ext>
            </a:extLst>
          </p:cNvPr>
          <p:cNvSpPr txBox="1">
            <a:spLocks noChangeArrowheads="1"/>
          </p:cNvSpPr>
          <p:nvPr/>
        </p:nvSpPr>
        <p:spPr bwMode="auto">
          <a:xfrm>
            <a:off x="4419002" y="4518859"/>
            <a:ext cx="3879845"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eaLnBrk="1" hangingPunct="1"/>
            <a:r>
              <a:rPr lang="de-DE" altLang="de-DE" sz="1900" dirty="0">
                <a:solidFill>
                  <a:schemeClr val="bg1"/>
                </a:solidFill>
              </a:rPr>
              <a:t>Datenanalysen (technische Sicht)</a:t>
            </a:r>
          </a:p>
        </p:txBody>
      </p:sp>
      <p:sp>
        <p:nvSpPr>
          <p:cNvPr id="35" name="Textfeld 43">
            <a:extLst>
              <a:ext uri="{FF2B5EF4-FFF2-40B4-BE49-F238E27FC236}">
                <a16:creationId xmlns:a16="http://schemas.microsoft.com/office/drawing/2014/main" id="{AD344A3E-E9A0-470E-A659-B919A7847D45}"/>
              </a:ext>
            </a:extLst>
          </p:cNvPr>
          <p:cNvSpPr txBox="1">
            <a:spLocks noChangeArrowheads="1"/>
          </p:cNvSpPr>
          <p:nvPr/>
        </p:nvSpPr>
        <p:spPr bwMode="auto">
          <a:xfrm>
            <a:off x="1126345" y="4499374"/>
            <a:ext cx="2172391" cy="401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algn="r" eaLnBrk="1" hangingPunct="1"/>
            <a:r>
              <a:rPr lang="de-DE" altLang="de-DE" sz="2011" dirty="0"/>
              <a:t>Data Engineering</a:t>
            </a:r>
          </a:p>
        </p:txBody>
      </p:sp>
      <p:cxnSp>
        <p:nvCxnSpPr>
          <p:cNvPr id="36" name="Gerade Verbindung mit Pfeil 35">
            <a:extLst>
              <a:ext uri="{FF2B5EF4-FFF2-40B4-BE49-F238E27FC236}">
                <a16:creationId xmlns:a16="http://schemas.microsoft.com/office/drawing/2014/main" id="{680E89B6-0F9D-437C-83B7-BE1842A33C89}"/>
              </a:ext>
            </a:extLst>
          </p:cNvPr>
          <p:cNvCxnSpPr/>
          <p:nvPr/>
        </p:nvCxnSpPr>
        <p:spPr>
          <a:xfrm>
            <a:off x="3418861" y="4707546"/>
            <a:ext cx="562820" cy="0"/>
          </a:xfrm>
          <a:prstGeom prst="straightConnector1">
            <a:avLst/>
          </a:prstGeom>
          <a:ln w="28575">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Geschweifte Klammer links 36">
            <a:extLst>
              <a:ext uri="{FF2B5EF4-FFF2-40B4-BE49-F238E27FC236}">
                <a16:creationId xmlns:a16="http://schemas.microsoft.com/office/drawing/2014/main" id="{5B2C0A77-1E22-4457-A3D6-63C9E258E75E}"/>
              </a:ext>
            </a:extLst>
          </p:cNvPr>
          <p:cNvSpPr/>
          <p:nvPr/>
        </p:nvSpPr>
        <p:spPr bwMode="auto">
          <a:xfrm>
            <a:off x="3526891" y="2245275"/>
            <a:ext cx="418335" cy="1881666"/>
          </a:xfrm>
          <a:prstGeom prst="leftBrace">
            <a:avLst/>
          </a:prstGeom>
          <a:noFill/>
          <a:ln w="28575" cap="flat" cmpd="sng" algn="ctr">
            <a:solidFill>
              <a:schemeClr val="bg1">
                <a:lumMod val="65000"/>
              </a:schemeClr>
            </a:solidFill>
            <a:prstDash val="solid"/>
            <a:round/>
            <a:headEnd type="none" w="med" len="med"/>
            <a:tailEnd type="none" w="med" len="med"/>
          </a:ln>
          <a:effectLst/>
        </p:spPr>
        <p:txBody>
          <a:bodyPr/>
          <a:lstStyle>
            <a:defPPr>
              <a:defRPr lang="de-DE"/>
            </a:defPPr>
            <a:lvl1pPr algn="l" rtl="0" fontAlgn="base">
              <a:spcBef>
                <a:spcPct val="0"/>
              </a:spcBef>
              <a:spcAft>
                <a:spcPct val="0"/>
              </a:spcAft>
              <a:defRPr sz="1700"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sz="17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17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17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1700" kern="1200">
                <a:solidFill>
                  <a:schemeClr val="tx1"/>
                </a:solidFill>
                <a:latin typeface="Arial" panose="020B0604020202020204" pitchFamily="34" charset="0"/>
                <a:ea typeface="+mn-ea"/>
                <a:cs typeface="+mn-cs"/>
              </a:defRPr>
            </a:lvl5pPr>
            <a:lvl6pPr marL="2286000" algn="l" defTabSz="914400" rtl="0" eaLnBrk="1" latinLnBrk="0" hangingPunct="1">
              <a:defRPr sz="1700" kern="1200">
                <a:solidFill>
                  <a:schemeClr val="tx1"/>
                </a:solidFill>
                <a:latin typeface="Arial" panose="020B0604020202020204" pitchFamily="34" charset="0"/>
                <a:ea typeface="+mn-ea"/>
                <a:cs typeface="+mn-cs"/>
              </a:defRPr>
            </a:lvl6pPr>
            <a:lvl7pPr marL="2743200" algn="l" defTabSz="914400" rtl="0" eaLnBrk="1" latinLnBrk="0" hangingPunct="1">
              <a:defRPr sz="1700" kern="1200">
                <a:solidFill>
                  <a:schemeClr val="tx1"/>
                </a:solidFill>
                <a:latin typeface="Arial" panose="020B0604020202020204" pitchFamily="34" charset="0"/>
                <a:ea typeface="+mn-ea"/>
                <a:cs typeface="+mn-cs"/>
              </a:defRPr>
            </a:lvl7pPr>
            <a:lvl8pPr marL="3200400" algn="l" defTabSz="914400" rtl="0" eaLnBrk="1" latinLnBrk="0" hangingPunct="1">
              <a:defRPr sz="1700" kern="1200">
                <a:solidFill>
                  <a:schemeClr val="tx1"/>
                </a:solidFill>
                <a:latin typeface="Arial" panose="020B0604020202020204" pitchFamily="34" charset="0"/>
                <a:ea typeface="+mn-ea"/>
                <a:cs typeface="+mn-cs"/>
              </a:defRPr>
            </a:lvl8pPr>
            <a:lvl9pPr marL="3657600" algn="l" defTabSz="914400" rtl="0" eaLnBrk="1" latinLnBrk="0" hangingPunct="1">
              <a:defRPr sz="1700" kern="1200">
                <a:solidFill>
                  <a:schemeClr val="tx1"/>
                </a:solidFill>
                <a:latin typeface="Arial" panose="020B0604020202020204" pitchFamily="34" charset="0"/>
                <a:ea typeface="+mn-ea"/>
                <a:cs typeface="+mn-cs"/>
              </a:defRPr>
            </a:lvl9pPr>
          </a:lstStyle>
          <a:p>
            <a:pPr defTabSz="913948">
              <a:defRPr/>
            </a:pPr>
            <a:endParaRPr lang="de-DE" sz="1799">
              <a:latin typeface="Arial" charset="0"/>
            </a:endParaRPr>
          </a:p>
        </p:txBody>
      </p:sp>
      <p:sp>
        <p:nvSpPr>
          <p:cNvPr id="38" name="Textfeld 47">
            <a:extLst>
              <a:ext uri="{FF2B5EF4-FFF2-40B4-BE49-F238E27FC236}">
                <a16:creationId xmlns:a16="http://schemas.microsoft.com/office/drawing/2014/main" id="{372C5F11-0D12-4D36-8F01-5B3252CF9315}"/>
              </a:ext>
            </a:extLst>
          </p:cNvPr>
          <p:cNvSpPr txBox="1">
            <a:spLocks noChangeArrowheads="1"/>
          </p:cNvSpPr>
          <p:nvPr/>
        </p:nvSpPr>
        <p:spPr bwMode="auto">
          <a:xfrm>
            <a:off x="1374045" y="2665290"/>
            <a:ext cx="2159567" cy="1020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algn="r" eaLnBrk="1" hangingPunct="1"/>
            <a:r>
              <a:rPr lang="de-DE" altLang="de-DE" sz="2011" dirty="0" err="1"/>
              <a:t>Process</a:t>
            </a:r>
            <a:r>
              <a:rPr lang="de-DE" altLang="de-DE" sz="2011" dirty="0"/>
              <a:t> Mining I</a:t>
            </a:r>
            <a:br>
              <a:rPr lang="de-DE" altLang="de-DE" sz="2011" dirty="0"/>
            </a:br>
            <a:r>
              <a:rPr lang="de-DE" altLang="de-DE" sz="2011" dirty="0"/>
              <a:t>&amp;</a:t>
            </a:r>
          </a:p>
          <a:p>
            <a:pPr algn="r" eaLnBrk="1" hangingPunct="1"/>
            <a:r>
              <a:rPr lang="de-DE" altLang="de-DE" sz="2011" dirty="0" err="1"/>
              <a:t>Process</a:t>
            </a:r>
            <a:r>
              <a:rPr lang="de-DE" altLang="de-DE" sz="2011" dirty="0"/>
              <a:t> Mining II</a:t>
            </a:r>
          </a:p>
        </p:txBody>
      </p:sp>
      <p:sp>
        <p:nvSpPr>
          <p:cNvPr id="39" name="Abgerundetes Rechteck 41">
            <a:extLst>
              <a:ext uri="{FF2B5EF4-FFF2-40B4-BE49-F238E27FC236}">
                <a16:creationId xmlns:a16="http://schemas.microsoft.com/office/drawing/2014/main" id="{E4F473FD-E0F5-4E3A-BA09-EBB4955C8685}"/>
              </a:ext>
            </a:extLst>
          </p:cNvPr>
          <p:cNvSpPr/>
          <p:nvPr/>
        </p:nvSpPr>
        <p:spPr>
          <a:xfrm>
            <a:off x="4178753" y="5199588"/>
            <a:ext cx="4947774" cy="631702"/>
          </a:xfrm>
          <a:prstGeom prst="roundRect">
            <a:avLst/>
          </a:prstGeom>
          <a:solidFill>
            <a:srgbClr val="03895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endParaRPr lang="de-DE" sz="1799"/>
          </a:p>
        </p:txBody>
      </p:sp>
      <p:sp>
        <p:nvSpPr>
          <p:cNvPr id="40" name="Textfeld 42">
            <a:extLst>
              <a:ext uri="{FF2B5EF4-FFF2-40B4-BE49-F238E27FC236}">
                <a16:creationId xmlns:a16="http://schemas.microsoft.com/office/drawing/2014/main" id="{0CE24D73-1B5B-4552-A608-7DEC639198D7}"/>
              </a:ext>
            </a:extLst>
          </p:cNvPr>
          <p:cNvSpPr txBox="1">
            <a:spLocks noChangeArrowheads="1"/>
          </p:cNvSpPr>
          <p:nvPr/>
        </p:nvSpPr>
        <p:spPr bwMode="auto">
          <a:xfrm>
            <a:off x="4419836" y="5301442"/>
            <a:ext cx="3650358"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eaLnBrk="1" hangingPunct="1"/>
            <a:r>
              <a:rPr lang="de-DE" altLang="de-DE" sz="1900" dirty="0">
                <a:solidFill>
                  <a:schemeClr val="bg1"/>
                </a:solidFill>
              </a:rPr>
              <a:t>Fortgeschrittene Datenanalysen</a:t>
            </a:r>
          </a:p>
        </p:txBody>
      </p:sp>
      <p:sp>
        <p:nvSpPr>
          <p:cNvPr id="41" name="Textfeld 43">
            <a:extLst>
              <a:ext uri="{FF2B5EF4-FFF2-40B4-BE49-F238E27FC236}">
                <a16:creationId xmlns:a16="http://schemas.microsoft.com/office/drawing/2014/main" id="{6C5CD538-44B3-4FE4-9192-96D06603B867}"/>
              </a:ext>
            </a:extLst>
          </p:cNvPr>
          <p:cNvSpPr txBox="1">
            <a:spLocks noChangeArrowheads="1"/>
          </p:cNvSpPr>
          <p:nvPr/>
        </p:nvSpPr>
        <p:spPr bwMode="auto">
          <a:xfrm>
            <a:off x="1281148" y="5338107"/>
            <a:ext cx="2058769" cy="711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algn="r" eaLnBrk="1" hangingPunct="1"/>
            <a:r>
              <a:rPr lang="de-DE" altLang="de-DE" sz="2011" dirty="0"/>
              <a:t>Data Analysis &amp; </a:t>
            </a:r>
            <a:br>
              <a:rPr lang="de-DE" altLang="de-DE" sz="2011" dirty="0"/>
            </a:br>
            <a:r>
              <a:rPr lang="de-DE" altLang="de-DE" sz="2011" dirty="0" err="1"/>
              <a:t>Visualization</a:t>
            </a:r>
            <a:endParaRPr lang="de-DE" altLang="de-DE" sz="2011" dirty="0"/>
          </a:p>
        </p:txBody>
      </p:sp>
      <p:cxnSp>
        <p:nvCxnSpPr>
          <p:cNvPr id="42" name="Gerade Verbindung mit Pfeil 41">
            <a:extLst>
              <a:ext uri="{FF2B5EF4-FFF2-40B4-BE49-F238E27FC236}">
                <a16:creationId xmlns:a16="http://schemas.microsoft.com/office/drawing/2014/main" id="{A5136C90-D667-4BB6-931C-8F258F2E7898}"/>
              </a:ext>
            </a:extLst>
          </p:cNvPr>
          <p:cNvCxnSpPr/>
          <p:nvPr/>
        </p:nvCxnSpPr>
        <p:spPr>
          <a:xfrm>
            <a:off x="3460042" y="5546279"/>
            <a:ext cx="562820" cy="0"/>
          </a:xfrm>
          <a:prstGeom prst="straightConnector1">
            <a:avLst/>
          </a:prstGeom>
          <a:ln w="28575">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3" name="Abgerundetes Rechteck 41">
            <a:extLst>
              <a:ext uri="{FF2B5EF4-FFF2-40B4-BE49-F238E27FC236}">
                <a16:creationId xmlns:a16="http://schemas.microsoft.com/office/drawing/2014/main" id="{6FD30391-800B-1DC1-4970-222DE7F54632}"/>
              </a:ext>
            </a:extLst>
          </p:cNvPr>
          <p:cNvSpPr/>
          <p:nvPr/>
        </p:nvSpPr>
        <p:spPr>
          <a:xfrm rot="16200000">
            <a:off x="8153715" y="3327777"/>
            <a:ext cx="3685895" cy="1326004"/>
          </a:xfrm>
          <a:prstGeom prst="roundRect">
            <a:avLst/>
          </a:prstGeom>
          <a:solidFill>
            <a:srgbClr val="03895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1700" kern="1200">
                <a:solidFill>
                  <a:schemeClr val="lt1"/>
                </a:solidFill>
                <a:latin typeface="+mn-lt"/>
                <a:ea typeface="+mn-ea"/>
                <a:cs typeface="+mn-cs"/>
              </a:defRPr>
            </a:lvl1pPr>
            <a:lvl2pPr marL="457200" algn="l" rtl="0" fontAlgn="base">
              <a:spcBef>
                <a:spcPct val="0"/>
              </a:spcBef>
              <a:spcAft>
                <a:spcPct val="0"/>
              </a:spcAft>
              <a:defRPr sz="1700" kern="1200">
                <a:solidFill>
                  <a:schemeClr val="lt1"/>
                </a:solidFill>
                <a:latin typeface="+mn-lt"/>
                <a:ea typeface="+mn-ea"/>
                <a:cs typeface="+mn-cs"/>
              </a:defRPr>
            </a:lvl2pPr>
            <a:lvl3pPr marL="914400" algn="l" rtl="0" fontAlgn="base">
              <a:spcBef>
                <a:spcPct val="0"/>
              </a:spcBef>
              <a:spcAft>
                <a:spcPct val="0"/>
              </a:spcAft>
              <a:defRPr sz="1700" kern="1200">
                <a:solidFill>
                  <a:schemeClr val="lt1"/>
                </a:solidFill>
                <a:latin typeface="+mn-lt"/>
                <a:ea typeface="+mn-ea"/>
                <a:cs typeface="+mn-cs"/>
              </a:defRPr>
            </a:lvl3pPr>
            <a:lvl4pPr marL="1371600" algn="l" rtl="0" fontAlgn="base">
              <a:spcBef>
                <a:spcPct val="0"/>
              </a:spcBef>
              <a:spcAft>
                <a:spcPct val="0"/>
              </a:spcAft>
              <a:defRPr sz="1700" kern="1200">
                <a:solidFill>
                  <a:schemeClr val="lt1"/>
                </a:solidFill>
                <a:latin typeface="+mn-lt"/>
                <a:ea typeface="+mn-ea"/>
                <a:cs typeface="+mn-cs"/>
              </a:defRPr>
            </a:lvl4pPr>
            <a:lvl5pPr marL="1828800" algn="l" rtl="0" fontAlgn="base">
              <a:spcBef>
                <a:spcPct val="0"/>
              </a:spcBef>
              <a:spcAft>
                <a:spcPct val="0"/>
              </a:spcAft>
              <a:defRPr sz="1700" kern="1200">
                <a:solidFill>
                  <a:schemeClr val="lt1"/>
                </a:solidFill>
                <a:latin typeface="+mn-lt"/>
                <a:ea typeface="+mn-ea"/>
                <a:cs typeface="+mn-cs"/>
              </a:defRPr>
            </a:lvl5pPr>
            <a:lvl6pPr marL="2286000" algn="l" defTabSz="914400" rtl="0" eaLnBrk="1" latinLnBrk="0" hangingPunct="1">
              <a:defRPr sz="1700" kern="1200">
                <a:solidFill>
                  <a:schemeClr val="lt1"/>
                </a:solidFill>
                <a:latin typeface="+mn-lt"/>
                <a:ea typeface="+mn-ea"/>
                <a:cs typeface="+mn-cs"/>
              </a:defRPr>
            </a:lvl6pPr>
            <a:lvl7pPr marL="2743200" algn="l" defTabSz="914400" rtl="0" eaLnBrk="1" latinLnBrk="0" hangingPunct="1">
              <a:defRPr sz="1700" kern="1200">
                <a:solidFill>
                  <a:schemeClr val="lt1"/>
                </a:solidFill>
                <a:latin typeface="+mn-lt"/>
                <a:ea typeface="+mn-ea"/>
                <a:cs typeface="+mn-cs"/>
              </a:defRPr>
            </a:lvl7pPr>
            <a:lvl8pPr marL="3200400" algn="l" defTabSz="914400" rtl="0" eaLnBrk="1" latinLnBrk="0" hangingPunct="1">
              <a:defRPr sz="1700" kern="1200">
                <a:solidFill>
                  <a:schemeClr val="lt1"/>
                </a:solidFill>
                <a:latin typeface="+mn-lt"/>
                <a:ea typeface="+mn-ea"/>
                <a:cs typeface="+mn-cs"/>
              </a:defRPr>
            </a:lvl8pPr>
            <a:lvl9pPr marL="3657600" algn="l" defTabSz="914400" rtl="0" eaLnBrk="1" latinLnBrk="0" hangingPunct="1">
              <a:defRPr sz="1700" kern="1200">
                <a:solidFill>
                  <a:schemeClr val="lt1"/>
                </a:solidFill>
                <a:latin typeface="+mn-lt"/>
                <a:ea typeface="+mn-ea"/>
                <a:cs typeface="+mn-cs"/>
              </a:defRPr>
            </a:lvl9pPr>
          </a:lstStyle>
          <a:p>
            <a:pPr algn="ctr">
              <a:defRPr/>
            </a:pPr>
            <a:r>
              <a:rPr lang="de-DE" sz="2000" dirty="0">
                <a:latin typeface="Arial" panose="020B0604020202020204" pitchFamily="34" charset="0"/>
                <a:cs typeface="Arial" panose="020B0604020202020204" pitchFamily="34" charset="0"/>
              </a:rPr>
              <a:t>Generative KI</a:t>
            </a:r>
          </a:p>
        </p:txBody>
      </p:sp>
    </p:spTree>
    <p:extLst>
      <p:ext uri="{BB962C8B-B14F-4D97-AF65-F5344CB8AC3E}">
        <p14:creationId xmlns:p14="http://schemas.microsoft.com/office/powerpoint/2010/main" val="12818030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hteck: abgerundete Ecken 69">
            <a:extLst>
              <a:ext uri="{FF2B5EF4-FFF2-40B4-BE49-F238E27FC236}">
                <a16:creationId xmlns:a16="http://schemas.microsoft.com/office/drawing/2014/main" id="{2FCA04E7-8BB1-CB98-6324-F705D3FECB9B}"/>
              </a:ext>
            </a:extLst>
          </p:cNvPr>
          <p:cNvSpPr/>
          <p:nvPr/>
        </p:nvSpPr>
        <p:spPr>
          <a:xfrm>
            <a:off x="6806832" y="1836381"/>
            <a:ext cx="5080369" cy="1709054"/>
          </a:xfrm>
          <a:prstGeom prst="roundRect">
            <a:avLst/>
          </a:prstGeom>
          <a:solidFill>
            <a:srgbClr val="FFFFCC">
              <a:alpha val="60000"/>
            </a:srgbClr>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sz="1600"/>
          </a:p>
        </p:txBody>
      </p:sp>
      <p:sp>
        <p:nvSpPr>
          <p:cNvPr id="69" name="Rechteck: abgerundete Ecken 68">
            <a:extLst>
              <a:ext uri="{FF2B5EF4-FFF2-40B4-BE49-F238E27FC236}">
                <a16:creationId xmlns:a16="http://schemas.microsoft.com/office/drawing/2014/main" id="{ED5A5323-B868-82B1-2F96-86C31027B960}"/>
              </a:ext>
            </a:extLst>
          </p:cNvPr>
          <p:cNvSpPr/>
          <p:nvPr/>
        </p:nvSpPr>
        <p:spPr>
          <a:xfrm>
            <a:off x="1113931" y="1828800"/>
            <a:ext cx="5644877" cy="1709054"/>
          </a:xfrm>
          <a:prstGeom prst="roundRect">
            <a:avLst/>
          </a:prstGeom>
          <a:solidFill>
            <a:schemeClr val="accent3">
              <a:lumMod val="40000"/>
              <a:lumOff val="60000"/>
              <a:alpha val="60000"/>
            </a:schemeClr>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sz="1600"/>
          </a:p>
        </p:txBody>
      </p:sp>
      <p:sp>
        <p:nvSpPr>
          <p:cNvPr id="45" name="Rechteck: abgerundete Ecken 44">
            <a:extLst>
              <a:ext uri="{FF2B5EF4-FFF2-40B4-BE49-F238E27FC236}">
                <a16:creationId xmlns:a16="http://schemas.microsoft.com/office/drawing/2014/main" id="{1073DB4C-7F78-517A-F2BD-EED874AE9DDF}"/>
              </a:ext>
            </a:extLst>
          </p:cNvPr>
          <p:cNvSpPr/>
          <p:nvPr/>
        </p:nvSpPr>
        <p:spPr>
          <a:xfrm>
            <a:off x="5744180" y="4177665"/>
            <a:ext cx="4549110" cy="1363333"/>
          </a:xfrm>
          <a:prstGeom prst="roundRect">
            <a:avLst/>
          </a:prstGeom>
          <a:solidFill>
            <a:schemeClr val="accent5">
              <a:lumMod val="40000"/>
              <a:lumOff val="60000"/>
              <a:alpha val="60000"/>
            </a:schemeClr>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sz="1600"/>
          </a:p>
        </p:txBody>
      </p:sp>
      <p:sp>
        <p:nvSpPr>
          <p:cNvPr id="44" name="Rechteck: abgerundete Ecken 43">
            <a:extLst>
              <a:ext uri="{FF2B5EF4-FFF2-40B4-BE49-F238E27FC236}">
                <a16:creationId xmlns:a16="http://schemas.microsoft.com/office/drawing/2014/main" id="{F82DD463-BF52-0034-84DB-7FA4AFB3A897}"/>
              </a:ext>
            </a:extLst>
          </p:cNvPr>
          <p:cNvSpPr/>
          <p:nvPr/>
        </p:nvSpPr>
        <p:spPr>
          <a:xfrm>
            <a:off x="10358018" y="4177664"/>
            <a:ext cx="1635003" cy="1363333"/>
          </a:xfrm>
          <a:prstGeom prst="roundRect">
            <a:avLst/>
          </a:prstGeom>
          <a:solidFill>
            <a:srgbClr val="00A070">
              <a:alpha val="60000"/>
            </a:srgbClr>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sz="1600"/>
          </a:p>
        </p:txBody>
      </p:sp>
      <p:sp>
        <p:nvSpPr>
          <p:cNvPr id="34" name="Rechteck: abgerundete Ecken 33">
            <a:extLst>
              <a:ext uri="{FF2B5EF4-FFF2-40B4-BE49-F238E27FC236}">
                <a16:creationId xmlns:a16="http://schemas.microsoft.com/office/drawing/2014/main" id="{12CFE50D-6991-821F-F8D5-5E9BD1E6C80F}"/>
              </a:ext>
            </a:extLst>
          </p:cNvPr>
          <p:cNvSpPr/>
          <p:nvPr/>
        </p:nvSpPr>
        <p:spPr>
          <a:xfrm>
            <a:off x="304800" y="4177666"/>
            <a:ext cx="5374652" cy="1363333"/>
          </a:xfrm>
          <a:prstGeom prst="roundRect">
            <a:avLst/>
          </a:prstGeom>
          <a:solidFill>
            <a:srgbClr val="00A070">
              <a:alpha val="60000"/>
            </a:srgbClr>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sz="1600"/>
          </a:p>
        </p:txBody>
      </p:sp>
      <p:sp>
        <p:nvSpPr>
          <p:cNvPr id="3" name="Titel 2">
            <a:extLst>
              <a:ext uri="{FF2B5EF4-FFF2-40B4-BE49-F238E27FC236}">
                <a16:creationId xmlns:a16="http://schemas.microsoft.com/office/drawing/2014/main" id="{AD6E3FBA-056E-119F-29E8-7634B18FAA4A}"/>
              </a:ext>
            </a:extLst>
          </p:cNvPr>
          <p:cNvSpPr>
            <a:spLocks noGrp="1"/>
          </p:cNvSpPr>
          <p:nvPr>
            <p:ph type="title"/>
          </p:nvPr>
        </p:nvSpPr>
        <p:spPr/>
        <p:txBody>
          <a:bodyPr/>
          <a:lstStyle/>
          <a:p>
            <a:r>
              <a:rPr lang="en-US" dirty="0" err="1"/>
              <a:t>Organisation</a:t>
            </a:r>
            <a:r>
              <a:rPr lang="en-US" dirty="0"/>
              <a:t>: </a:t>
            </a:r>
            <a:r>
              <a:rPr lang="en-US" dirty="0" err="1"/>
              <a:t>Termine</a:t>
            </a:r>
            <a:r>
              <a:rPr lang="en-US" dirty="0"/>
              <a:t> </a:t>
            </a:r>
            <a:r>
              <a:rPr lang="en-US" dirty="0" err="1"/>
              <a:t>Vorlesung</a:t>
            </a:r>
            <a:r>
              <a:rPr lang="en-US" dirty="0"/>
              <a:t> &amp; </a:t>
            </a:r>
            <a:r>
              <a:rPr lang="en-US" dirty="0" err="1"/>
              <a:t>Übung</a:t>
            </a:r>
            <a:endParaRPr lang="en-DE" dirty="0"/>
          </a:p>
        </p:txBody>
      </p:sp>
      <p:sp>
        <p:nvSpPr>
          <p:cNvPr id="5" name="Footer Placeholder 4">
            <a:extLst>
              <a:ext uri="{FF2B5EF4-FFF2-40B4-BE49-F238E27FC236}">
                <a16:creationId xmlns:a16="http://schemas.microsoft.com/office/drawing/2014/main" id="{C65289BB-5FC9-4C0A-B447-F72658919DD2}"/>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
        <p:nvSpPr>
          <p:cNvPr id="6" name="Slide Number Placeholder 5">
            <a:extLst>
              <a:ext uri="{FF2B5EF4-FFF2-40B4-BE49-F238E27FC236}">
                <a16:creationId xmlns:a16="http://schemas.microsoft.com/office/drawing/2014/main" id="{FB66DB4F-C3FB-4EB2-8D11-FBE4B2CDEAA6}"/>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11</a:t>
            </a:fld>
            <a:r>
              <a:rPr lang="de-DE" spc="-10" dirty="0"/>
              <a:t> • </a:t>
            </a:r>
            <a:r>
              <a:rPr lang="de-DE" spc="-5" dirty="0"/>
              <a:t>Prof. </a:t>
            </a:r>
            <a:r>
              <a:rPr lang="de-DE" spc="-10" dirty="0"/>
              <a:t>Dr. Agnes Koschmider • Generative KI</a:t>
            </a:r>
          </a:p>
        </p:txBody>
      </p:sp>
      <p:cxnSp>
        <p:nvCxnSpPr>
          <p:cNvPr id="4" name="Gerader Verbinder 3">
            <a:extLst>
              <a:ext uri="{FF2B5EF4-FFF2-40B4-BE49-F238E27FC236}">
                <a16:creationId xmlns:a16="http://schemas.microsoft.com/office/drawing/2014/main" id="{BBE8EA35-8231-2F1E-4C4D-4D25A262648D}"/>
              </a:ext>
            </a:extLst>
          </p:cNvPr>
          <p:cNvCxnSpPr>
            <a:cxnSpLocks/>
          </p:cNvCxnSpPr>
          <p:nvPr/>
        </p:nvCxnSpPr>
        <p:spPr>
          <a:xfrm flipV="1">
            <a:off x="696000" y="3864601"/>
            <a:ext cx="11160000" cy="0"/>
          </a:xfrm>
          <a:prstGeom prst="line">
            <a:avLst/>
          </a:prstGeom>
          <a:ln w="19050">
            <a:solidFill>
              <a:srgbClr val="00A07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A00F1282-4DFE-50FC-1B3A-9C6DEB71F5F8}"/>
              </a:ext>
            </a:extLst>
          </p:cNvPr>
          <p:cNvCxnSpPr>
            <a:cxnSpLocks/>
          </p:cNvCxnSpPr>
          <p:nvPr/>
        </p:nvCxnSpPr>
        <p:spPr>
          <a:xfrm>
            <a:off x="11496000" y="3864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87A15F43-8698-6E0F-2A06-9B13AE37C391}"/>
              </a:ext>
            </a:extLst>
          </p:cNvPr>
          <p:cNvCxnSpPr>
            <a:cxnSpLocks/>
          </p:cNvCxnSpPr>
          <p:nvPr/>
        </p:nvCxnSpPr>
        <p:spPr>
          <a:xfrm>
            <a:off x="10724577" y="3864601"/>
            <a:ext cx="0" cy="936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B4CDCD8F-CC39-766A-D84B-57811125F4DB}"/>
              </a:ext>
            </a:extLst>
          </p:cNvPr>
          <p:cNvCxnSpPr>
            <a:cxnSpLocks/>
          </p:cNvCxnSpPr>
          <p:nvPr/>
        </p:nvCxnSpPr>
        <p:spPr>
          <a:xfrm>
            <a:off x="9953148" y="3864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7BB7E009-C5A9-E4F2-0060-E3FB5911EC70}"/>
              </a:ext>
            </a:extLst>
          </p:cNvPr>
          <p:cNvCxnSpPr>
            <a:cxnSpLocks/>
          </p:cNvCxnSpPr>
          <p:nvPr/>
        </p:nvCxnSpPr>
        <p:spPr>
          <a:xfrm>
            <a:off x="9181719" y="3864601"/>
            <a:ext cx="0" cy="936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C1E4AA7A-433E-4932-7DA9-0C633B902D6F}"/>
              </a:ext>
            </a:extLst>
          </p:cNvPr>
          <p:cNvCxnSpPr>
            <a:cxnSpLocks/>
          </p:cNvCxnSpPr>
          <p:nvPr/>
        </p:nvCxnSpPr>
        <p:spPr>
          <a:xfrm>
            <a:off x="8410290" y="3864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572D5E9C-B667-8656-CC5B-53147D965063}"/>
              </a:ext>
            </a:extLst>
          </p:cNvPr>
          <p:cNvCxnSpPr>
            <a:cxnSpLocks/>
          </p:cNvCxnSpPr>
          <p:nvPr/>
        </p:nvCxnSpPr>
        <p:spPr>
          <a:xfrm>
            <a:off x="7638861" y="3864601"/>
            <a:ext cx="0" cy="936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88D97ED1-3970-B035-F314-1C4CA28F3E16}"/>
              </a:ext>
            </a:extLst>
          </p:cNvPr>
          <p:cNvCxnSpPr>
            <a:cxnSpLocks/>
          </p:cNvCxnSpPr>
          <p:nvPr/>
        </p:nvCxnSpPr>
        <p:spPr>
          <a:xfrm>
            <a:off x="6867432" y="3864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A05C2579-759E-8562-DE8A-73E4C5D242B0}"/>
              </a:ext>
            </a:extLst>
          </p:cNvPr>
          <p:cNvCxnSpPr>
            <a:cxnSpLocks/>
          </p:cNvCxnSpPr>
          <p:nvPr/>
        </p:nvCxnSpPr>
        <p:spPr>
          <a:xfrm>
            <a:off x="6096003" y="3864601"/>
            <a:ext cx="0" cy="93600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B0993923-245A-25CA-1C39-EA1D0C8B0FBB}"/>
              </a:ext>
            </a:extLst>
          </p:cNvPr>
          <p:cNvCxnSpPr>
            <a:cxnSpLocks/>
          </p:cNvCxnSpPr>
          <p:nvPr/>
        </p:nvCxnSpPr>
        <p:spPr>
          <a:xfrm>
            <a:off x="5324574" y="3864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BD1CE8E1-E6EE-C0D7-A58D-49477FE99D8F}"/>
              </a:ext>
            </a:extLst>
          </p:cNvPr>
          <p:cNvCxnSpPr>
            <a:cxnSpLocks/>
          </p:cNvCxnSpPr>
          <p:nvPr/>
        </p:nvCxnSpPr>
        <p:spPr>
          <a:xfrm>
            <a:off x="4553145" y="3864601"/>
            <a:ext cx="0" cy="93600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726F9C2D-8545-5B60-85A4-BC8F4EA9391C}"/>
              </a:ext>
            </a:extLst>
          </p:cNvPr>
          <p:cNvCxnSpPr>
            <a:cxnSpLocks/>
          </p:cNvCxnSpPr>
          <p:nvPr/>
        </p:nvCxnSpPr>
        <p:spPr>
          <a:xfrm>
            <a:off x="3781716" y="3864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943038CD-E1F9-A437-E92F-CE43DBDFE922}"/>
              </a:ext>
            </a:extLst>
          </p:cNvPr>
          <p:cNvCxnSpPr>
            <a:cxnSpLocks/>
          </p:cNvCxnSpPr>
          <p:nvPr/>
        </p:nvCxnSpPr>
        <p:spPr>
          <a:xfrm>
            <a:off x="3010287" y="3864601"/>
            <a:ext cx="0" cy="936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06F1B46D-230D-0784-51B1-645BA868A4CA}"/>
              </a:ext>
            </a:extLst>
          </p:cNvPr>
          <p:cNvCxnSpPr>
            <a:cxnSpLocks/>
          </p:cNvCxnSpPr>
          <p:nvPr/>
        </p:nvCxnSpPr>
        <p:spPr>
          <a:xfrm>
            <a:off x="2238858" y="3864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3B894F94-A1D8-B984-A7AD-D8B377FA48A6}"/>
              </a:ext>
            </a:extLst>
          </p:cNvPr>
          <p:cNvCxnSpPr>
            <a:cxnSpLocks/>
          </p:cNvCxnSpPr>
          <p:nvPr/>
        </p:nvCxnSpPr>
        <p:spPr>
          <a:xfrm>
            <a:off x="1467429" y="3864601"/>
            <a:ext cx="0" cy="936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769E6A3F-42AC-B2C3-153D-17B05CA231F9}"/>
              </a:ext>
            </a:extLst>
          </p:cNvPr>
          <p:cNvCxnSpPr>
            <a:cxnSpLocks/>
          </p:cNvCxnSpPr>
          <p:nvPr/>
        </p:nvCxnSpPr>
        <p:spPr>
          <a:xfrm>
            <a:off x="696000" y="3864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9D417101-C38C-3FD2-DE56-324C291C6055}"/>
              </a:ext>
            </a:extLst>
          </p:cNvPr>
          <p:cNvSpPr txBox="1"/>
          <p:nvPr/>
        </p:nvSpPr>
        <p:spPr>
          <a:xfrm>
            <a:off x="347251" y="4332601"/>
            <a:ext cx="704039" cy="584775"/>
          </a:xfrm>
          <a:prstGeom prst="rect">
            <a:avLst/>
          </a:prstGeom>
          <a:noFill/>
        </p:spPr>
        <p:txBody>
          <a:bodyPr wrap="none" rtlCol="0">
            <a:spAutoFit/>
          </a:bodyPr>
          <a:lstStyle/>
          <a:p>
            <a:pPr algn="ctr"/>
            <a:r>
              <a:rPr lang="de-DE" sz="1600" dirty="0"/>
              <a:t>1. VL</a:t>
            </a:r>
          </a:p>
          <a:p>
            <a:pPr algn="ctr"/>
            <a:r>
              <a:rPr lang="de-DE" sz="1600" dirty="0"/>
              <a:t>16.04.</a:t>
            </a:r>
          </a:p>
        </p:txBody>
      </p:sp>
      <p:sp>
        <p:nvSpPr>
          <p:cNvPr id="28" name="Textfeld 27">
            <a:extLst>
              <a:ext uri="{FF2B5EF4-FFF2-40B4-BE49-F238E27FC236}">
                <a16:creationId xmlns:a16="http://schemas.microsoft.com/office/drawing/2014/main" id="{93C11B64-98A1-B592-F53D-5A56BFC76ADF}"/>
              </a:ext>
            </a:extLst>
          </p:cNvPr>
          <p:cNvSpPr txBox="1"/>
          <p:nvPr/>
        </p:nvSpPr>
        <p:spPr>
          <a:xfrm>
            <a:off x="1118678" y="4800601"/>
            <a:ext cx="704039" cy="584775"/>
          </a:xfrm>
          <a:prstGeom prst="rect">
            <a:avLst/>
          </a:prstGeom>
          <a:noFill/>
        </p:spPr>
        <p:txBody>
          <a:bodyPr wrap="none" rtlCol="0">
            <a:spAutoFit/>
          </a:bodyPr>
          <a:lstStyle/>
          <a:p>
            <a:pPr algn="ctr"/>
            <a:r>
              <a:rPr lang="de-DE" sz="1600" dirty="0"/>
              <a:t>2. VL</a:t>
            </a:r>
          </a:p>
          <a:p>
            <a:pPr algn="ctr"/>
            <a:r>
              <a:rPr lang="de-DE" sz="1600" dirty="0"/>
              <a:t>23.04.</a:t>
            </a:r>
          </a:p>
        </p:txBody>
      </p:sp>
      <p:sp>
        <p:nvSpPr>
          <p:cNvPr id="29" name="Textfeld 28">
            <a:extLst>
              <a:ext uri="{FF2B5EF4-FFF2-40B4-BE49-F238E27FC236}">
                <a16:creationId xmlns:a16="http://schemas.microsoft.com/office/drawing/2014/main" id="{8F705CBE-581C-5389-FB3B-7E2C64D9B50B}"/>
              </a:ext>
            </a:extLst>
          </p:cNvPr>
          <p:cNvSpPr txBox="1"/>
          <p:nvPr/>
        </p:nvSpPr>
        <p:spPr>
          <a:xfrm>
            <a:off x="1891098" y="4332537"/>
            <a:ext cx="704039" cy="584775"/>
          </a:xfrm>
          <a:prstGeom prst="rect">
            <a:avLst/>
          </a:prstGeom>
          <a:noFill/>
        </p:spPr>
        <p:txBody>
          <a:bodyPr wrap="none" rtlCol="0">
            <a:spAutoFit/>
          </a:bodyPr>
          <a:lstStyle/>
          <a:p>
            <a:pPr algn="ctr"/>
            <a:r>
              <a:rPr lang="de-DE" sz="1600" dirty="0"/>
              <a:t>3. VL</a:t>
            </a:r>
          </a:p>
          <a:p>
            <a:pPr algn="ctr"/>
            <a:r>
              <a:rPr lang="de-DE" sz="1600" dirty="0"/>
              <a:t>30.04.</a:t>
            </a:r>
          </a:p>
        </p:txBody>
      </p:sp>
      <p:sp>
        <p:nvSpPr>
          <p:cNvPr id="30" name="Textfeld 29">
            <a:extLst>
              <a:ext uri="{FF2B5EF4-FFF2-40B4-BE49-F238E27FC236}">
                <a16:creationId xmlns:a16="http://schemas.microsoft.com/office/drawing/2014/main" id="{429E916E-4B8E-4EB2-85BA-B46135B0A71E}"/>
              </a:ext>
            </a:extLst>
          </p:cNvPr>
          <p:cNvSpPr txBox="1"/>
          <p:nvPr/>
        </p:nvSpPr>
        <p:spPr>
          <a:xfrm>
            <a:off x="2669741" y="4800601"/>
            <a:ext cx="704039" cy="584775"/>
          </a:xfrm>
          <a:prstGeom prst="rect">
            <a:avLst/>
          </a:prstGeom>
          <a:noFill/>
        </p:spPr>
        <p:txBody>
          <a:bodyPr wrap="none" rtlCol="0">
            <a:spAutoFit/>
          </a:bodyPr>
          <a:lstStyle/>
          <a:p>
            <a:pPr algn="ctr"/>
            <a:r>
              <a:rPr lang="de-DE" sz="1600" dirty="0"/>
              <a:t>4. VL</a:t>
            </a:r>
          </a:p>
          <a:p>
            <a:pPr algn="ctr"/>
            <a:r>
              <a:rPr lang="de-DE" sz="1600" dirty="0"/>
              <a:t>07.05.</a:t>
            </a:r>
          </a:p>
        </p:txBody>
      </p:sp>
      <p:sp>
        <p:nvSpPr>
          <p:cNvPr id="31" name="Textfeld 30">
            <a:extLst>
              <a:ext uri="{FF2B5EF4-FFF2-40B4-BE49-F238E27FC236}">
                <a16:creationId xmlns:a16="http://schemas.microsoft.com/office/drawing/2014/main" id="{C7BDB2D9-450F-F8F8-9D73-31FC526E2832}"/>
              </a:ext>
            </a:extLst>
          </p:cNvPr>
          <p:cNvSpPr txBox="1"/>
          <p:nvPr/>
        </p:nvSpPr>
        <p:spPr>
          <a:xfrm>
            <a:off x="3448384" y="4330484"/>
            <a:ext cx="704039" cy="584775"/>
          </a:xfrm>
          <a:prstGeom prst="rect">
            <a:avLst/>
          </a:prstGeom>
          <a:noFill/>
        </p:spPr>
        <p:txBody>
          <a:bodyPr wrap="none" rtlCol="0">
            <a:spAutoFit/>
          </a:bodyPr>
          <a:lstStyle/>
          <a:p>
            <a:pPr algn="ctr"/>
            <a:r>
              <a:rPr lang="de-DE" sz="1600" dirty="0"/>
              <a:t>5. VL</a:t>
            </a:r>
          </a:p>
          <a:p>
            <a:pPr algn="ctr"/>
            <a:r>
              <a:rPr lang="de-DE" sz="1600" dirty="0"/>
              <a:t>14.05.</a:t>
            </a:r>
          </a:p>
        </p:txBody>
      </p:sp>
      <p:sp>
        <p:nvSpPr>
          <p:cNvPr id="32" name="Textfeld 31">
            <a:extLst>
              <a:ext uri="{FF2B5EF4-FFF2-40B4-BE49-F238E27FC236}">
                <a16:creationId xmlns:a16="http://schemas.microsoft.com/office/drawing/2014/main" id="{0F0164A1-F959-DE0C-E2E4-016BA256826F}"/>
              </a:ext>
            </a:extLst>
          </p:cNvPr>
          <p:cNvSpPr txBox="1"/>
          <p:nvPr/>
        </p:nvSpPr>
        <p:spPr>
          <a:xfrm>
            <a:off x="4189102" y="4803692"/>
            <a:ext cx="728084" cy="584775"/>
          </a:xfrm>
          <a:prstGeom prst="rect">
            <a:avLst/>
          </a:prstGeom>
          <a:noFill/>
        </p:spPr>
        <p:txBody>
          <a:bodyPr wrap="none" rtlCol="0">
            <a:spAutoFit/>
          </a:bodyPr>
          <a:lstStyle/>
          <a:p>
            <a:pPr algn="ctr"/>
            <a:r>
              <a:rPr lang="de-DE" sz="1600" i="1" dirty="0">
                <a:solidFill>
                  <a:schemeClr val="bg1">
                    <a:lumMod val="50000"/>
                  </a:schemeClr>
                </a:solidFill>
              </a:rPr>
              <a:t>VL-frei</a:t>
            </a:r>
          </a:p>
          <a:p>
            <a:pPr algn="ctr"/>
            <a:r>
              <a:rPr lang="de-DE" sz="1600" dirty="0">
                <a:solidFill>
                  <a:schemeClr val="bg1">
                    <a:lumMod val="50000"/>
                  </a:schemeClr>
                </a:solidFill>
              </a:rPr>
              <a:t>21.05.</a:t>
            </a:r>
          </a:p>
        </p:txBody>
      </p:sp>
      <p:sp>
        <p:nvSpPr>
          <p:cNvPr id="33" name="Textfeld 32">
            <a:extLst>
              <a:ext uri="{FF2B5EF4-FFF2-40B4-BE49-F238E27FC236}">
                <a16:creationId xmlns:a16="http://schemas.microsoft.com/office/drawing/2014/main" id="{68406A45-F730-D59D-234F-0AF143596BD2}"/>
              </a:ext>
            </a:extLst>
          </p:cNvPr>
          <p:cNvSpPr txBox="1"/>
          <p:nvPr/>
        </p:nvSpPr>
        <p:spPr>
          <a:xfrm>
            <a:off x="4988673" y="4330483"/>
            <a:ext cx="704039" cy="584775"/>
          </a:xfrm>
          <a:prstGeom prst="rect">
            <a:avLst/>
          </a:prstGeom>
          <a:noFill/>
        </p:spPr>
        <p:txBody>
          <a:bodyPr wrap="none" rtlCol="0">
            <a:spAutoFit/>
          </a:bodyPr>
          <a:lstStyle/>
          <a:p>
            <a:pPr algn="ctr"/>
            <a:r>
              <a:rPr lang="de-DE" sz="1600" dirty="0"/>
              <a:t>6. VL</a:t>
            </a:r>
          </a:p>
          <a:p>
            <a:pPr algn="ctr"/>
            <a:r>
              <a:rPr lang="de-DE" sz="1600" dirty="0"/>
              <a:t>28.05.</a:t>
            </a:r>
          </a:p>
        </p:txBody>
      </p:sp>
      <p:sp>
        <p:nvSpPr>
          <p:cNvPr id="35" name="Textfeld 34">
            <a:extLst>
              <a:ext uri="{FF2B5EF4-FFF2-40B4-BE49-F238E27FC236}">
                <a16:creationId xmlns:a16="http://schemas.microsoft.com/office/drawing/2014/main" id="{8BD42D8E-3025-ED8F-A3C3-9E784D1B51D1}"/>
              </a:ext>
            </a:extLst>
          </p:cNvPr>
          <p:cNvSpPr txBox="1"/>
          <p:nvPr/>
        </p:nvSpPr>
        <p:spPr>
          <a:xfrm>
            <a:off x="5713416" y="4808107"/>
            <a:ext cx="766557" cy="584775"/>
          </a:xfrm>
          <a:prstGeom prst="rect">
            <a:avLst/>
          </a:prstGeom>
          <a:noFill/>
        </p:spPr>
        <p:txBody>
          <a:bodyPr wrap="none" rtlCol="0">
            <a:spAutoFit/>
          </a:bodyPr>
          <a:lstStyle/>
          <a:p>
            <a:pPr algn="ctr"/>
            <a:r>
              <a:rPr lang="de-DE" sz="1600" i="1" dirty="0">
                <a:solidFill>
                  <a:schemeClr val="bg1">
                    <a:lumMod val="50000"/>
                  </a:schemeClr>
                </a:solidFill>
              </a:rPr>
              <a:t>versch.</a:t>
            </a:r>
          </a:p>
          <a:p>
            <a:pPr algn="ctr"/>
            <a:r>
              <a:rPr lang="de-DE" sz="1600" i="1" dirty="0">
                <a:solidFill>
                  <a:schemeClr val="bg1">
                    <a:lumMod val="50000"/>
                  </a:schemeClr>
                </a:solidFill>
              </a:rPr>
              <a:t>04.06.</a:t>
            </a:r>
          </a:p>
        </p:txBody>
      </p:sp>
      <p:sp>
        <p:nvSpPr>
          <p:cNvPr id="36" name="Textfeld 35">
            <a:extLst>
              <a:ext uri="{FF2B5EF4-FFF2-40B4-BE49-F238E27FC236}">
                <a16:creationId xmlns:a16="http://schemas.microsoft.com/office/drawing/2014/main" id="{947E0914-E45C-51B4-846C-FD62BF8264C4}"/>
              </a:ext>
            </a:extLst>
          </p:cNvPr>
          <p:cNvSpPr txBox="1"/>
          <p:nvPr/>
        </p:nvSpPr>
        <p:spPr>
          <a:xfrm>
            <a:off x="6534558" y="4332601"/>
            <a:ext cx="704039" cy="584775"/>
          </a:xfrm>
          <a:prstGeom prst="rect">
            <a:avLst/>
          </a:prstGeom>
          <a:noFill/>
        </p:spPr>
        <p:txBody>
          <a:bodyPr wrap="none" rtlCol="0">
            <a:spAutoFit/>
          </a:bodyPr>
          <a:lstStyle/>
          <a:p>
            <a:pPr algn="ctr"/>
            <a:r>
              <a:rPr lang="de-DE" sz="1600" dirty="0"/>
              <a:t>7. VL</a:t>
            </a:r>
          </a:p>
          <a:p>
            <a:pPr algn="ctr"/>
            <a:r>
              <a:rPr lang="de-DE" sz="1600" dirty="0"/>
              <a:t>10.06.</a:t>
            </a:r>
          </a:p>
        </p:txBody>
      </p:sp>
      <p:sp>
        <p:nvSpPr>
          <p:cNvPr id="37" name="Textfeld 36">
            <a:extLst>
              <a:ext uri="{FF2B5EF4-FFF2-40B4-BE49-F238E27FC236}">
                <a16:creationId xmlns:a16="http://schemas.microsoft.com/office/drawing/2014/main" id="{A4E50034-1CA7-C68C-7635-C2B1F5BB0E37}"/>
              </a:ext>
            </a:extLst>
          </p:cNvPr>
          <p:cNvSpPr txBox="1"/>
          <p:nvPr/>
        </p:nvSpPr>
        <p:spPr>
          <a:xfrm>
            <a:off x="7305986" y="4800601"/>
            <a:ext cx="704039" cy="584775"/>
          </a:xfrm>
          <a:prstGeom prst="rect">
            <a:avLst/>
          </a:prstGeom>
          <a:noFill/>
        </p:spPr>
        <p:txBody>
          <a:bodyPr wrap="none" rtlCol="0">
            <a:spAutoFit/>
          </a:bodyPr>
          <a:lstStyle/>
          <a:p>
            <a:pPr algn="ctr"/>
            <a:r>
              <a:rPr lang="de-DE" sz="1600" dirty="0"/>
              <a:t>8. VL</a:t>
            </a:r>
          </a:p>
          <a:p>
            <a:pPr algn="ctr"/>
            <a:r>
              <a:rPr lang="de-DE" sz="1600" dirty="0"/>
              <a:t>11.06.</a:t>
            </a:r>
          </a:p>
        </p:txBody>
      </p:sp>
      <p:sp>
        <p:nvSpPr>
          <p:cNvPr id="38" name="Textfeld 37">
            <a:extLst>
              <a:ext uri="{FF2B5EF4-FFF2-40B4-BE49-F238E27FC236}">
                <a16:creationId xmlns:a16="http://schemas.microsoft.com/office/drawing/2014/main" id="{B8B8E6C0-73C2-B2BB-30C7-2F942882459F}"/>
              </a:ext>
            </a:extLst>
          </p:cNvPr>
          <p:cNvSpPr txBox="1"/>
          <p:nvPr/>
        </p:nvSpPr>
        <p:spPr>
          <a:xfrm>
            <a:off x="8078406" y="4332537"/>
            <a:ext cx="704039" cy="584775"/>
          </a:xfrm>
          <a:prstGeom prst="rect">
            <a:avLst/>
          </a:prstGeom>
          <a:noFill/>
        </p:spPr>
        <p:txBody>
          <a:bodyPr wrap="none" rtlCol="0">
            <a:spAutoFit/>
          </a:bodyPr>
          <a:lstStyle/>
          <a:p>
            <a:pPr algn="ctr"/>
            <a:r>
              <a:rPr lang="de-DE" sz="1600" dirty="0"/>
              <a:t>9. VL</a:t>
            </a:r>
          </a:p>
          <a:p>
            <a:pPr algn="ctr"/>
            <a:r>
              <a:rPr lang="de-DE" sz="1600" dirty="0"/>
              <a:t>18.06.</a:t>
            </a:r>
          </a:p>
        </p:txBody>
      </p:sp>
      <p:sp>
        <p:nvSpPr>
          <p:cNvPr id="39" name="Textfeld 38">
            <a:extLst>
              <a:ext uri="{FF2B5EF4-FFF2-40B4-BE49-F238E27FC236}">
                <a16:creationId xmlns:a16="http://schemas.microsoft.com/office/drawing/2014/main" id="{FED177A4-DE18-C54C-C445-9BF99B8CF3A0}"/>
              </a:ext>
            </a:extLst>
          </p:cNvPr>
          <p:cNvSpPr txBox="1"/>
          <p:nvPr/>
        </p:nvSpPr>
        <p:spPr>
          <a:xfrm>
            <a:off x="8857049" y="4800601"/>
            <a:ext cx="704039" cy="584775"/>
          </a:xfrm>
          <a:prstGeom prst="rect">
            <a:avLst/>
          </a:prstGeom>
          <a:noFill/>
        </p:spPr>
        <p:txBody>
          <a:bodyPr wrap="none" rtlCol="0">
            <a:spAutoFit/>
          </a:bodyPr>
          <a:lstStyle/>
          <a:p>
            <a:pPr algn="ctr"/>
            <a:r>
              <a:rPr lang="de-DE" sz="1600" dirty="0"/>
              <a:t>10. VL</a:t>
            </a:r>
          </a:p>
          <a:p>
            <a:pPr algn="ctr"/>
            <a:r>
              <a:rPr lang="de-DE" sz="1600" dirty="0"/>
              <a:t>25.06.</a:t>
            </a:r>
          </a:p>
        </p:txBody>
      </p:sp>
      <p:sp>
        <p:nvSpPr>
          <p:cNvPr id="40" name="Textfeld 39">
            <a:extLst>
              <a:ext uri="{FF2B5EF4-FFF2-40B4-BE49-F238E27FC236}">
                <a16:creationId xmlns:a16="http://schemas.microsoft.com/office/drawing/2014/main" id="{F6001323-500C-8A0D-CB45-A93DA38588C2}"/>
              </a:ext>
            </a:extLst>
          </p:cNvPr>
          <p:cNvSpPr txBox="1"/>
          <p:nvPr/>
        </p:nvSpPr>
        <p:spPr>
          <a:xfrm>
            <a:off x="9607884" y="4333371"/>
            <a:ext cx="704039" cy="584775"/>
          </a:xfrm>
          <a:prstGeom prst="rect">
            <a:avLst/>
          </a:prstGeom>
          <a:noFill/>
        </p:spPr>
        <p:txBody>
          <a:bodyPr wrap="none" rtlCol="0">
            <a:spAutoFit/>
          </a:bodyPr>
          <a:lstStyle/>
          <a:p>
            <a:pPr algn="ctr"/>
            <a:r>
              <a:rPr lang="de-DE" sz="1600" dirty="0"/>
              <a:t>11. VL</a:t>
            </a:r>
          </a:p>
          <a:p>
            <a:pPr algn="ctr"/>
            <a:r>
              <a:rPr lang="de-DE" sz="1600" dirty="0"/>
              <a:t>02.07.</a:t>
            </a:r>
          </a:p>
        </p:txBody>
      </p:sp>
      <p:sp>
        <p:nvSpPr>
          <p:cNvPr id="41" name="Textfeld 40">
            <a:extLst>
              <a:ext uri="{FF2B5EF4-FFF2-40B4-BE49-F238E27FC236}">
                <a16:creationId xmlns:a16="http://schemas.microsoft.com/office/drawing/2014/main" id="{A2B50B07-4CDA-9CEC-AB10-69CF0F8791F9}"/>
              </a:ext>
            </a:extLst>
          </p:cNvPr>
          <p:cNvSpPr txBox="1"/>
          <p:nvPr/>
        </p:nvSpPr>
        <p:spPr>
          <a:xfrm>
            <a:off x="10379311" y="4801371"/>
            <a:ext cx="704039" cy="584775"/>
          </a:xfrm>
          <a:prstGeom prst="rect">
            <a:avLst/>
          </a:prstGeom>
          <a:noFill/>
        </p:spPr>
        <p:txBody>
          <a:bodyPr wrap="none" rtlCol="0">
            <a:spAutoFit/>
          </a:bodyPr>
          <a:lstStyle/>
          <a:p>
            <a:pPr algn="ctr"/>
            <a:r>
              <a:rPr lang="de-DE" sz="1600" dirty="0"/>
              <a:t>12. VL</a:t>
            </a:r>
          </a:p>
          <a:p>
            <a:pPr algn="ctr"/>
            <a:r>
              <a:rPr lang="de-DE" sz="1600" dirty="0"/>
              <a:t>09.07.</a:t>
            </a:r>
          </a:p>
        </p:txBody>
      </p:sp>
      <p:sp>
        <p:nvSpPr>
          <p:cNvPr id="42" name="Textfeld 41">
            <a:extLst>
              <a:ext uri="{FF2B5EF4-FFF2-40B4-BE49-F238E27FC236}">
                <a16:creationId xmlns:a16="http://schemas.microsoft.com/office/drawing/2014/main" id="{E7636F21-BEC8-FB41-14B4-0CB7386A3ED2}"/>
              </a:ext>
            </a:extLst>
          </p:cNvPr>
          <p:cNvSpPr txBox="1"/>
          <p:nvPr/>
        </p:nvSpPr>
        <p:spPr>
          <a:xfrm>
            <a:off x="11151731" y="4333307"/>
            <a:ext cx="704039" cy="584775"/>
          </a:xfrm>
          <a:prstGeom prst="rect">
            <a:avLst/>
          </a:prstGeom>
          <a:noFill/>
        </p:spPr>
        <p:txBody>
          <a:bodyPr wrap="none" rtlCol="0">
            <a:spAutoFit/>
          </a:bodyPr>
          <a:lstStyle/>
          <a:p>
            <a:pPr algn="ctr"/>
            <a:r>
              <a:rPr lang="de-DE" sz="1600" dirty="0"/>
              <a:t>13. VL</a:t>
            </a:r>
          </a:p>
          <a:p>
            <a:pPr algn="ctr"/>
            <a:r>
              <a:rPr lang="de-DE" sz="1600" dirty="0"/>
              <a:t>16.07.</a:t>
            </a:r>
          </a:p>
        </p:txBody>
      </p:sp>
      <p:cxnSp>
        <p:nvCxnSpPr>
          <p:cNvPr id="47" name="Gerade Verbindung mit Pfeil 46">
            <a:extLst>
              <a:ext uri="{FF2B5EF4-FFF2-40B4-BE49-F238E27FC236}">
                <a16:creationId xmlns:a16="http://schemas.microsoft.com/office/drawing/2014/main" id="{F89FEAE1-0AA9-3E1E-5270-59AF8A1702D5}"/>
              </a:ext>
            </a:extLst>
          </p:cNvPr>
          <p:cNvCxnSpPr>
            <a:cxnSpLocks/>
          </p:cNvCxnSpPr>
          <p:nvPr/>
        </p:nvCxnSpPr>
        <p:spPr>
          <a:xfrm flipV="1">
            <a:off x="6446846" y="4986438"/>
            <a:ext cx="258754" cy="305557"/>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feld 43">
            <a:extLst>
              <a:ext uri="{FF2B5EF4-FFF2-40B4-BE49-F238E27FC236}">
                <a16:creationId xmlns:a16="http://schemas.microsoft.com/office/drawing/2014/main" id="{2A4029F8-4D46-7D60-23FC-25934961F0B9}"/>
              </a:ext>
            </a:extLst>
          </p:cNvPr>
          <p:cNvSpPr txBox="1">
            <a:spLocks noChangeArrowheads="1"/>
          </p:cNvSpPr>
          <p:nvPr/>
        </p:nvSpPr>
        <p:spPr bwMode="auto">
          <a:xfrm>
            <a:off x="2280201" y="5762927"/>
            <a:ext cx="1423851" cy="401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algn="r" eaLnBrk="1" hangingPunct="1"/>
            <a:r>
              <a:rPr lang="de-DE" altLang="de-DE" sz="2011" b="1" dirty="0"/>
              <a:t>Vorlesung</a:t>
            </a:r>
          </a:p>
        </p:txBody>
      </p:sp>
      <p:sp>
        <p:nvSpPr>
          <p:cNvPr id="50" name="Textfeld 43">
            <a:extLst>
              <a:ext uri="{FF2B5EF4-FFF2-40B4-BE49-F238E27FC236}">
                <a16:creationId xmlns:a16="http://schemas.microsoft.com/office/drawing/2014/main" id="{1DC5272C-327D-081D-DB10-01411B3F309B}"/>
              </a:ext>
            </a:extLst>
          </p:cNvPr>
          <p:cNvSpPr txBox="1">
            <a:spLocks noChangeArrowheads="1"/>
          </p:cNvSpPr>
          <p:nvPr/>
        </p:nvSpPr>
        <p:spPr bwMode="auto">
          <a:xfrm>
            <a:off x="6860405" y="5762927"/>
            <a:ext cx="2316660" cy="401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algn="r" eaLnBrk="1" hangingPunct="1"/>
            <a:r>
              <a:rPr lang="de-DE" altLang="de-DE" sz="2011" b="1" dirty="0"/>
              <a:t>Expertenvorträge</a:t>
            </a:r>
          </a:p>
        </p:txBody>
      </p:sp>
      <p:sp>
        <p:nvSpPr>
          <p:cNvPr id="52" name="Textfeld 43">
            <a:extLst>
              <a:ext uri="{FF2B5EF4-FFF2-40B4-BE49-F238E27FC236}">
                <a16:creationId xmlns:a16="http://schemas.microsoft.com/office/drawing/2014/main" id="{C8C76C24-FFD1-7799-B29D-40DBC5D408AC}"/>
              </a:ext>
            </a:extLst>
          </p:cNvPr>
          <p:cNvSpPr txBox="1">
            <a:spLocks noChangeArrowheads="1"/>
          </p:cNvSpPr>
          <p:nvPr/>
        </p:nvSpPr>
        <p:spPr bwMode="auto">
          <a:xfrm>
            <a:off x="10463594" y="5762927"/>
            <a:ext cx="1423851" cy="401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algn="r" eaLnBrk="1" hangingPunct="1"/>
            <a:r>
              <a:rPr lang="de-DE" altLang="de-DE" sz="2011" b="1" dirty="0"/>
              <a:t>Vorlesung</a:t>
            </a:r>
          </a:p>
        </p:txBody>
      </p:sp>
      <p:cxnSp>
        <p:nvCxnSpPr>
          <p:cNvPr id="53" name="Gerader Verbinder 52">
            <a:extLst>
              <a:ext uri="{FF2B5EF4-FFF2-40B4-BE49-F238E27FC236}">
                <a16:creationId xmlns:a16="http://schemas.microsoft.com/office/drawing/2014/main" id="{70E0FE15-5E40-72F8-A178-1A854247CFC6}"/>
              </a:ext>
            </a:extLst>
          </p:cNvPr>
          <p:cNvCxnSpPr>
            <a:cxnSpLocks/>
          </p:cNvCxnSpPr>
          <p:nvPr/>
        </p:nvCxnSpPr>
        <p:spPr>
          <a:xfrm>
            <a:off x="1467429" y="3396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460683EF-1E92-DD4D-6BB3-F05B9F4860D6}"/>
              </a:ext>
            </a:extLst>
          </p:cNvPr>
          <p:cNvSpPr txBox="1"/>
          <p:nvPr/>
        </p:nvSpPr>
        <p:spPr>
          <a:xfrm>
            <a:off x="1243043" y="2817669"/>
            <a:ext cx="1475340" cy="584775"/>
          </a:xfrm>
          <a:prstGeom prst="rect">
            <a:avLst/>
          </a:prstGeom>
          <a:noFill/>
        </p:spPr>
        <p:txBody>
          <a:bodyPr wrap="none" rtlCol="0">
            <a:spAutoFit/>
          </a:bodyPr>
          <a:lstStyle/>
          <a:p>
            <a:r>
              <a:rPr lang="de-DE" sz="1600" dirty="0"/>
              <a:t>23.04.</a:t>
            </a:r>
          </a:p>
          <a:p>
            <a:r>
              <a:rPr lang="de-DE" sz="1600" dirty="0"/>
              <a:t>1. Übungszettel</a:t>
            </a:r>
          </a:p>
        </p:txBody>
      </p:sp>
      <p:cxnSp>
        <p:nvCxnSpPr>
          <p:cNvPr id="55" name="Gerader Verbinder 54">
            <a:extLst>
              <a:ext uri="{FF2B5EF4-FFF2-40B4-BE49-F238E27FC236}">
                <a16:creationId xmlns:a16="http://schemas.microsoft.com/office/drawing/2014/main" id="{F4563AB0-3FA9-B5AC-FF46-1E8E24BFAAAA}"/>
              </a:ext>
            </a:extLst>
          </p:cNvPr>
          <p:cNvCxnSpPr>
            <a:cxnSpLocks/>
          </p:cNvCxnSpPr>
          <p:nvPr/>
        </p:nvCxnSpPr>
        <p:spPr>
          <a:xfrm>
            <a:off x="2881825" y="2424601"/>
            <a:ext cx="0" cy="1440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56" name="Textfeld 55">
            <a:extLst>
              <a:ext uri="{FF2B5EF4-FFF2-40B4-BE49-F238E27FC236}">
                <a16:creationId xmlns:a16="http://schemas.microsoft.com/office/drawing/2014/main" id="{E01F6DF1-4AB0-5DE2-89A0-DC0A951C7A3D}"/>
              </a:ext>
            </a:extLst>
          </p:cNvPr>
          <p:cNvSpPr txBox="1"/>
          <p:nvPr/>
        </p:nvSpPr>
        <p:spPr>
          <a:xfrm>
            <a:off x="1613801" y="1834587"/>
            <a:ext cx="1475340" cy="584775"/>
          </a:xfrm>
          <a:prstGeom prst="rect">
            <a:avLst/>
          </a:prstGeom>
          <a:noFill/>
        </p:spPr>
        <p:txBody>
          <a:bodyPr wrap="none" rtlCol="0">
            <a:spAutoFit/>
          </a:bodyPr>
          <a:lstStyle/>
          <a:p>
            <a:pPr algn="ctr"/>
            <a:r>
              <a:rPr lang="de-DE" sz="1600" dirty="0"/>
              <a:t>06.05. Abgabe</a:t>
            </a:r>
          </a:p>
          <a:p>
            <a:pPr algn="ctr"/>
            <a:r>
              <a:rPr lang="de-DE" sz="1600" dirty="0"/>
              <a:t>1. Übungszettel</a:t>
            </a:r>
          </a:p>
        </p:txBody>
      </p:sp>
      <p:cxnSp>
        <p:nvCxnSpPr>
          <p:cNvPr id="57" name="Gerader Verbinder 56">
            <a:extLst>
              <a:ext uri="{FF2B5EF4-FFF2-40B4-BE49-F238E27FC236}">
                <a16:creationId xmlns:a16="http://schemas.microsoft.com/office/drawing/2014/main" id="{2FC32B0C-DD08-39A2-A302-A7D14A790879}"/>
              </a:ext>
            </a:extLst>
          </p:cNvPr>
          <p:cNvCxnSpPr>
            <a:cxnSpLocks/>
          </p:cNvCxnSpPr>
          <p:nvPr/>
        </p:nvCxnSpPr>
        <p:spPr>
          <a:xfrm>
            <a:off x="3010287" y="3399376"/>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58" name="Textfeld 57">
            <a:extLst>
              <a:ext uri="{FF2B5EF4-FFF2-40B4-BE49-F238E27FC236}">
                <a16:creationId xmlns:a16="http://schemas.microsoft.com/office/drawing/2014/main" id="{E007FDDA-598A-FD71-D904-AC2A15887B54}"/>
              </a:ext>
            </a:extLst>
          </p:cNvPr>
          <p:cNvSpPr txBox="1"/>
          <p:nvPr/>
        </p:nvSpPr>
        <p:spPr>
          <a:xfrm>
            <a:off x="2895600" y="2558354"/>
            <a:ext cx="1483419" cy="830997"/>
          </a:xfrm>
          <a:prstGeom prst="rect">
            <a:avLst/>
          </a:prstGeom>
          <a:noFill/>
        </p:spPr>
        <p:txBody>
          <a:bodyPr wrap="none" rtlCol="0">
            <a:spAutoFit/>
          </a:bodyPr>
          <a:lstStyle/>
          <a:p>
            <a:r>
              <a:rPr lang="de-DE" sz="1600" dirty="0"/>
              <a:t>07.05.</a:t>
            </a:r>
          </a:p>
          <a:p>
            <a:r>
              <a:rPr lang="de-DE" sz="1600" dirty="0"/>
              <a:t>2. Übungszettel</a:t>
            </a:r>
          </a:p>
          <a:p>
            <a:r>
              <a:rPr lang="de-DE" sz="1600" dirty="0"/>
              <a:t>Musterlösung 1</a:t>
            </a:r>
          </a:p>
        </p:txBody>
      </p:sp>
      <p:cxnSp>
        <p:nvCxnSpPr>
          <p:cNvPr id="59" name="Gerader Verbinder 58">
            <a:extLst>
              <a:ext uri="{FF2B5EF4-FFF2-40B4-BE49-F238E27FC236}">
                <a16:creationId xmlns:a16="http://schemas.microsoft.com/office/drawing/2014/main" id="{59536721-D4D5-DD09-4C55-6A972B5FFD4B}"/>
              </a:ext>
            </a:extLst>
          </p:cNvPr>
          <p:cNvCxnSpPr>
            <a:cxnSpLocks/>
          </p:cNvCxnSpPr>
          <p:nvPr/>
        </p:nvCxnSpPr>
        <p:spPr>
          <a:xfrm>
            <a:off x="5198678" y="2424601"/>
            <a:ext cx="0" cy="1440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60" name="Textfeld 59">
            <a:extLst>
              <a:ext uri="{FF2B5EF4-FFF2-40B4-BE49-F238E27FC236}">
                <a16:creationId xmlns:a16="http://schemas.microsoft.com/office/drawing/2014/main" id="{2E4F4096-50B5-133B-854A-5D57FC569DB0}"/>
              </a:ext>
            </a:extLst>
          </p:cNvPr>
          <p:cNvSpPr txBox="1"/>
          <p:nvPr/>
        </p:nvSpPr>
        <p:spPr>
          <a:xfrm>
            <a:off x="3824410" y="1837971"/>
            <a:ext cx="1475340" cy="584775"/>
          </a:xfrm>
          <a:prstGeom prst="rect">
            <a:avLst/>
          </a:prstGeom>
          <a:noFill/>
        </p:spPr>
        <p:txBody>
          <a:bodyPr wrap="none" rtlCol="0">
            <a:spAutoFit/>
          </a:bodyPr>
          <a:lstStyle/>
          <a:p>
            <a:pPr algn="ctr"/>
            <a:r>
              <a:rPr lang="de-DE" sz="1600" dirty="0"/>
              <a:t>27.05. Abgabe</a:t>
            </a:r>
          </a:p>
          <a:p>
            <a:pPr algn="ctr"/>
            <a:r>
              <a:rPr lang="de-DE" sz="1600" dirty="0"/>
              <a:t>2. Übungszettel</a:t>
            </a:r>
          </a:p>
        </p:txBody>
      </p:sp>
      <p:cxnSp>
        <p:nvCxnSpPr>
          <p:cNvPr id="61" name="Gerader Verbinder 60">
            <a:extLst>
              <a:ext uri="{FF2B5EF4-FFF2-40B4-BE49-F238E27FC236}">
                <a16:creationId xmlns:a16="http://schemas.microsoft.com/office/drawing/2014/main" id="{E69B1E6E-9BAB-DD60-1CC8-B5E16192C351}"/>
              </a:ext>
            </a:extLst>
          </p:cNvPr>
          <p:cNvCxnSpPr>
            <a:cxnSpLocks/>
          </p:cNvCxnSpPr>
          <p:nvPr/>
        </p:nvCxnSpPr>
        <p:spPr>
          <a:xfrm>
            <a:off x="5324574" y="3396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62" name="Textfeld 61">
            <a:extLst>
              <a:ext uri="{FF2B5EF4-FFF2-40B4-BE49-F238E27FC236}">
                <a16:creationId xmlns:a16="http://schemas.microsoft.com/office/drawing/2014/main" id="{8FF02A55-51FD-C4BB-21E9-62B7B8926C7F}"/>
              </a:ext>
            </a:extLst>
          </p:cNvPr>
          <p:cNvSpPr txBox="1"/>
          <p:nvPr/>
        </p:nvSpPr>
        <p:spPr>
          <a:xfrm>
            <a:off x="5145289" y="2549569"/>
            <a:ext cx="1483419" cy="830997"/>
          </a:xfrm>
          <a:prstGeom prst="rect">
            <a:avLst/>
          </a:prstGeom>
          <a:noFill/>
        </p:spPr>
        <p:txBody>
          <a:bodyPr wrap="none" rtlCol="0">
            <a:spAutoFit/>
          </a:bodyPr>
          <a:lstStyle/>
          <a:p>
            <a:r>
              <a:rPr lang="de-DE" sz="1600" dirty="0"/>
              <a:t>28.05.</a:t>
            </a:r>
          </a:p>
          <a:p>
            <a:r>
              <a:rPr lang="de-DE" sz="1600" dirty="0"/>
              <a:t>3. Übungszettel</a:t>
            </a:r>
          </a:p>
          <a:p>
            <a:r>
              <a:rPr lang="de-DE" sz="1600" dirty="0"/>
              <a:t>Musterlösung 2</a:t>
            </a:r>
          </a:p>
        </p:txBody>
      </p:sp>
      <p:cxnSp>
        <p:nvCxnSpPr>
          <p:cNvPr id="63" name="Gerader Verbinder 62">
            <a:extLst>
              <a:ext uri="{FF2B5EF4-FFF2-40B4-BE49-F238E27FC236}">
                <a16:creationId xmlns:a16="http://schemas.microsoft.com/office/drawing/2014/main" id="{45881272-DD8F-F19E-CF09-94EBD6116A0D}"/>
              </a:ext>
            </a:extLst>
          </p:cNvPr>
          <p:cNvCxnSpPr>
            <a:cxnSpLocks/>
          </p:cNvCxnSpPr>
          <p:nvPr/>
        </p:nvCxnSpPr>
        <p:spPr>
          <a:xfrm>
            <a:off x="6727938" y="2424601"/>
            <a:ext cx="0" cy="1440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64" name="Textfeld 63">
            <a:extLst>
              <a:ext uri="{FF2B5EF4-FFF2-40B4-BE49-F238E27FC236}">
                <a16:creationId xmlns:a16="http://schemas.microsoft.com/office/drawing/2014/main" id="{1B41FE03-87B0-58C4-7EF2-DD37B65DFDD4}"/>
              </a:ext>
            </a:extLst>
          </p:cNvPr>
          <p:cNvSpPr txBox="1"/>
          <p:nvPr/>
        </p:nvSpPr>
        <p:spPr>
          <a:xfrm>
            <a:off x="5365050" y="1833215"/>
            <a:ext cx="1475340" cy="584775"/>
          </a:xfrm>
          <a:prstGeom prst="rect">
            <a:avLst/>
          </a:prstGeom>
          <a:noFill/>
        </p:spPr>
        <p:txBody>
          <a:bodyPr wrap="none" rtlCol="0">
            <a:spAutoFit/>
          </a:bodyPr>
          <a:lstStyle/>
          <a:p>
            <a:pPr algn="ctr"/>
            <a:r>
              <a:rPr lang="de-DE" sz="1600" dirty="0"/>
              <a:t>09.06. Abgabe</a:t>
            </a:r>
          </a:p>
          <a:p>
            <a:pPr algn="ctr"/>
            <a:r>
              <a:rPr lang="de-DE" sz="1600" dirty="0"/>
              <a:t>3. Übungszettel</a:t>
            </a:r>
          </a:p>
        </p:txBody>
      </p:sp>
      <p:cxnSp>
        <p:nvCxnSpPr>
          <p:cNvPr id="65" name="Gerader Verbinder 64">
            <a:extLst>
              <a:ext uri="{FF2B5EF4-FFF2-40B4-BE49-F238E27FC236}">
                <a16:creationId xmlns:a16="http://schemas.microsoft.com/office/drawing/2014/main" id="{582FB4DB-0EB4-ABDD-1AB6-FE8E05DC90C7}"/>
              </a:ext>
            </a:extLst>
          </p:cNvPr>
          <p:cNvCxnSpPr>
            <a:cxnSpLocks/>
          </p:cNvCxnSpPr>
          <p:nvPr/>
        </p:nvCxnSpPr>
        <p:spPr>
          <a:xfrm>
            <a:off x="6867427" y="339878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id="{723DF5DA-45C8-9CE1-AAB4-431133589E03}"/>
              </a:ext>
            </a:extLst>
          </p:cNvPr>
          <p:cNvSpPr txBox="1"/>
          <p:nvPr/>
        </p:nvSpPr>
        <p:spPr>
          <a:xfrm>
            <a:off x="6762385" y="2558353"/>
            <a:ext cx="2291909" cy="830997"/>
          </a:xfrm>
          <a:prstGeom prst="rect">
            <a:avLst/>
          </a:prstGeom>
          <a:noFill/>
        </p:spPr>
        <p:txBody>
          <a:bodyPr wrap="none" rtlCol="0">
            <a:spAutoFit/>
          </a:bodyPr>
          <a:lstStyle/>
          <a:p>
            <a:r>
              <a:rPr lang="de-DE" sz="1600" dirty="0"/>
              <a:t>10.06.</a:t>
            </a:r>
          </a:p>
          <a:p>
            <a:r>
              <a:rPr lang="de-DE" sz="1600" dirty="0"/>
              <a:t>Musterlösung 3</a:t>
            </a:r>
          </a:p>
          <a:p>
            <a:r>
              <a:rPr lang="de-DE" sz="1600" dirty="0"/>
              <a:t>Beginn Praktische Übung</a:t>
            </a:r>
          </a:p>
        </p:txBody>
      </p:sp>
      <p:cxnSp>
        <p:nvCxnSpPr>
          <p:cNvPr id="67" name="Gerader Verbinder 66">
            <a:extLst>
              <a:ext uri="{FF2B5EF4-FFF2-40B4-BE49-F238E27FC236}">
                <a16:creationId xmlns:a16="http://schemas.microsoft.com/office/drawing/2014/main" id="{87739232-4ADC-4861-B5E1-130F9A3E948B}"/>
              </a:ext>
            </a:extLst>
          </p:cNvPr>
          <p:cNvCxnSpPr>
            <a:cxnSpLocks/>
          </p:cNvCxnSpPr>
          <p:nvPr/>
        </p:nvCxnSpPr>
        <p:spPr>
          <a:xfrm>
            <a:off x="11496000" y="3396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68" name="Textfeld 67">
            <a:extLst>
              <a:ext uri="{FF2B5EF4-FFF2-40B4-BE49-F238E27FC236}">
                <a16:creationId xmlns:a16="http://schemas.microsoft.com/office/drawing/2014/main" id="{A3A1221B-2C71-66C3-3803-DA48B7FC80F7}"/>
              </a:ext>
            </a:extLst>
          </p:cNvPr>
          <p:cNvSpPr txBox="1"/>
          <p:nvPr/>
        </p:nvSpPr>
        <p:spPr>
          <a:xfrm>
            <a:off x="9737768" y="2558353"/>
            <a:ext cx="2101409" cy="830997"/>
          </a:xfrm>
          <a:prstGeom prst="rect">
            <a:avLst/>
          </a:prstGeom>
          <a:noFill/>
        </p:spPr>
        <p:txBody>
          <a:bodyPr wrap="none" rtlCol="0">
            <a:spAutoFit/>
          </a:bodyPr>
          <a:lstStyle/>
          <a:p>
            <a:r>
              <a:rPr lang="de-DE" sz="1600" dirty="0"/>
              <a:t>16.07.</a:t>
            </a:r>
          </a:p>
          <a:p>
            <a:endParaRPr lang="de-DE" sz="1600" dirty="0"/>
          </a:p>
          <a:p>
            <a:r>
              <a:rPr lang="de-DE" sz="1600" dirty="0"/>
              <a:t>Ende Praktische Übung</a:t>
            </a:r>
          </a:p>
        </p:txBody>
      </p:sp>
      <p:sp>
        <p:nvSpPr>
          <p:cNvPr id="2" name="Textfeld 43">
            <a:extLst>
              <a:ext uri="{FF2B5EF4-FFF2-40B4-BE49-F238E27FC236}">
                <a16:creationId xmlns:a16="http://schemas.microsoft.com/office/drawing/2014/main" id="{154C9392-0FB5-AC43-B35E-06830915A987}"/>
              </a:ext>
            </a:extLst>
          </p:cNvPr>
          <p:cNvSpPr txBox="1">
            <a:spLocks noChangeArrowheads="1"/>
          </p:cNvSpPr>
          <p:nvPr/>
        </p:nvSpPr>
        <p:spPr bwMode="auto">
          <a:xfrm>
            <a:off x="3436873" y="1371600"/>
            <a:ext cx="998992" cy="401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algn="r" eaLnBrk="1" hangingPunct="1"/>
            <a:r>
              <a:rPr lang="de-DE" altLang="de-DE" sz="2011" b="1" dirty="0"/>
              <a:t>Übung</a:t>
            </a:r>
          </a:p>
        </p:txBody>
      </p:sp>
      <p:sp>
        <p:nvSpPr>
          <p:cNvPr id="7" name="Textfeld 43">
            <a:extLst>
              <a:ext uri="{FF2B5EF4-FFF2-40B4-BE49-F238E27FC236}">
                <a16:creationId xmlns:a16="http://schemas.microsoft.com/office/drawing/2014/main" id="{818C27FB-6257-1B66-555C-EBA0D8859D7D}"/>
              </a:ext>
            </a:extLst>
          </p:cNvPr>
          <p:cNvSpPr txBox="1">
            <a:spLocks noChangeArrowheads="1"/>
          </p:cNvSpPr>
          <p:nvPr/>
        </p:nvSpPr>
        <p:spPr bwMode="auto">
          <a:xfrm>
            <a:off x="8160634" y="1371600"/>
            <a:ext cx="2372765" cy="401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algn="r" eaLnBrk="1" hangingPunct="1"/>
            <a:r>
              <a:rPr lang="de-DE" altLang="de-DE" sz="2011" b="1" dirty="0"/>
              <a:t>Praktische Übung</a:t>
            </a:r>
          </a:p>
        </p:txBody>
      </p:sp>
    </p:spTree>
    <p:extLst>
      <p:ext uri="{BB962C8B-B14F-4D97-AF65-F5344CB8AC3E}">
        <p14:creationId xmlns:p14="http://schemas.microsoft.com/office/powerpoint/2010/main" val="3922120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7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69" grpId="0" animBg="1"/>
      <p:bldP spid="54" grpId="0"/>
      <p:bldP spid="56" grpId="0"/>
      <p:bldP spid="58" grpId="0"/>
      <p:bldP spid="60" grpId="0"/>
      <p:bldP spid="62" grpId="0"/>
      <p:bldP spid="64" grpId="0"/>
      <p:bldP spid="66" grpId="0"/>
      <p:bldP spid="68" grpId="0"/>
      <p:bldP spid="2" grpId="0"/>
      <p:bldP spid="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AD6E3FBA-056E-119F-29E8-7634B18FAA4A}"/>
              </a:ext>
            </a:extLst>
          </p:cNvPr>
          <p:cNvSpPr>
            <a:spLocks noGrp="1"/>
          </p:cNvSpPr>
          <p:nvPr>
            <p:ph type="title"/>
          </p:nvPr>
        </p:nvSpPr>
        <p:spPr/>
        <p:txBody>
          <a:bodyPr/>
          <a:lstStyle/>
          <a:p>
            <a:r>
              <a:rPr lang="en-US" dirty="0" err="1"/>
              <a:t>Übung</a:t>
            </a:r>
            <a:endParaRPr lang="en-DE" dirty="0"/>
          </a:p>
        </p:txBody>
      </p:sp>
      <p:grpSp>
        <p:nvGrpSpPr>
          <p:cNvPr id="2" name="Gruppieren 1">
            <a:extLst>
              <a:ext uri="{FF2B5EF4-FFF2-40B4-BE49-F238E27FC236}">
                <a16:creationId xmlns:a16="http://schemas.microsoft.com/office/drawing/2014/main" id="{DEA6C7BC-4EA1-EDB3-1629-03BC327D369D}"/>
              </a:ext>
            </a:extLst>
          </p:cNvPr>
          <p:cNvGrpSpPr/>
          <p:nvPr/>
        </p:nvGrpSpPr>
        <p:grpSpPr>
          <a:xfrm>
            <a:off x="2533889" y="2305050"/>
            <a:ext cx="7124223" cy="2247900"/>
            <a:chOff x="2352199" y="1487817"/>
            <a:chExt cx="7124223" cy="2247900"/>
          </a:xfrm>
        </p:grpSpPr>
        <p:sp>
          <p:nvSpPr>
            <p:cNvPr id="12" name="Rechteck 7">
              <a:extLst>
                <a:ext uri="{FF2B5EF4-FFF2-40B4-BE49-F238E27FC236}">
                  <a16:creationId xmlns:a16="http://schemas.microsoft.com/office/drawing/2014/main" id="{DAE32886-3DED-C43E-D96B-C2703149493D}"/>
                </a:ext>
              </a:extLst>
            </p:cNvPr>
            <p:cNvSpPr>
              <a:spLocks noChangeArrowheads="1"/>
            </p:cNvSpPr>
            <p:nvPr/>
          </p:nvSpPr>
          <p:spPr bwMode="auto">
            <a:xfrm>
              <a:off x="2352199" y="1487817"/>
              <a:ext cx="6913244" cy="2247900"/>
            </a:xfrm>
            <a:prstGeom prst="rect">
              <a:avLst/>
            </a:prstGeom>
            <a:solidFill>
              <a:srgbClr val="03895E">
                <a:alpha val="14902"/>
              </a:srgbClr>
            </a:solidFill>
            <a:ln w="9525" algn="ctr">
              <a:solidFill>
                <a:srgbClr val="03895E"/>
              </a:solidFill>
              <a:round/>
              <a:headEnd/>
              <a:tailEnd/>
            </a:ln>
          </p:spPr>
          <p:txBody>
            <a:bodyPr/>
            <a:lstStyle>
              <a:lvl1pPr defTabSz="863600">
                <a:defRPr sz="1700">
                  <a:solidFill>
                    <a:schemeClr val="tx1"/>
                  </a:solidFill>
                  <a:latin typeface="Arial" panose="020B0604020202020204" pitchFamily="34" charset="0"/>
                </a:defRPr>
              </a:lvl1pPr>
              <a:lvl2pPr marL="742950" indent="-285750" defTabSz="863600">
                <a:defRPr sz="1700">
                  <a:solidFill>
                    <a:schemeClr val="tx1"/>
                  </a:solidFill>
                  <a:latin typeface="Arial" panose="020B0604020202020204" pitchFamily="34" charset="0"/>
                </a:defRPr>
              </a:lvl2pPr>
              <a:lvl3pPr marL="1143000" indent="-228600" defTabSz="863600">
                <a:defRPr sz="1700">
                  <a:solidFill>
                    <a:schemeClr val="tx1"/>
                  </a:solidFill>
                  <a:latin typeface="Arial" panose="020B0604020202020204" pitchFamily="34" charset="0"/>
                </a:defRPr>
              </a:lvl3pPr>
              <a:lvl4pPr marL="1600200" indent="-228600" defTabSz="863600">
                <a:defRPr sz="1700">
                  <a:solidFill>
                    <a:schemeClr val="tx1"/>
                  </a:solidFill>
                  <a:latin typeface="Arial" panose="020B0604020202020204" pitchFamily="34" charset="0"/>
                </a:defRPr>
              </a:lvl4pPr>
              <a:lvl5pPr marL="2057400" indent="-228600" defTabSz="863600">
                <a:defRPr sz="1700">
                  <a:solidFill>
                    <a:schemeClr val="tx1"/>
                  </a:solidFill>
                  <a:latin typeface="Arial" panose="020B0604020202020204" pitchFamily="34" charset="0"/>
                </a:defRPr>
              </a:lvl5pPr>
              <a:lvl6pPr marL="2514600" indent="-228600" defTabSz="863600" eaLnBrk="0" fontAlgn="base" hangingPunct="0">
                <a:spcBef>
                  <a:spcPct val="0"/>
                </a:spcBef>
                <a:spcAft>
                  <a:spcPct val="0"/>
                </a:spcAft>
                <a:defRPr sz="1700">
                  <a:solidFill>
                    <a:schemeClr val="tx1"/>
                  </a:solidFill>
                  <a:latin typeface="Arial" panose="020B0604020202020204" pitchFamily="34" charset="0"/>
                </a:defRPr>
              </a:lvl6pPr>
              <a:lvl7pPr marL="2971800" indent="-228600" defTabSz="863600" eaLnBrk="0" fontAlgn="base" hangingPunct="0">
                <a:spcBef>
                  <a:spcPct val="0"/>
                </a:spcBef>
                <a:spcAft>
                  <a:spcPct val="0"/>
                </a:spcAft>
                <a:defRPr sz="1700">
                  <a:solidFill>
                    <a:schemeClr val="tx1"/>
                  </a:solidFill>
                  <a:latin typeface="Arial" panose="020B0604020202020204" pitchFamily="34" charset="0"/>
                </a:defRPr>
              </a:lvl7pPr>
              <a:lvl8pPr marL="3429000" indent="-228600" defTabSz="863600" eaLnBrk="0" fontAlgn="base" hangingPunct="0">
                <a:spcBef>
                  <a:spcPct val="0"/>
                </a:spcBef>
                <a:spcAft>
                  <a:spcPct val="0"/>
                </a:spcAft>
                <a:defRPr sz="1700">
                  <a:solidFill>
                    <a:schemeClr val="tx1"/>
                  </a:solidFill>
                  <a:latin typeface="Arial" panose="020B0604020202020204" pitchFamily="34" charset="0"/>
                </a:defRPr>
              </a:lvl8pPr>
              <a:lvl9pPr marL="3886200" indent="-228600" defTabSz="863600" eaLnBrk="0" fontAlgn="base" hangingPunct="0">
                <a:spcBef>
                  <a:spcPct val="0"/>
                </a:spcBef>
                <a:spcAft>
                  <a:spcPct val="0"/>
                </a:spcAft>
                <a:defRPr sz="1700">
                  <a:solidFill>
                    <a:schemeClr val="tx1"/>
                  </a:solidFill>
                  <a:latin typeface="Arial" panose="020B0604020202020204" pitchFamily="34" charset="0"/>
                </a:defRPr>
              </a:lvl9pPr>
            </a:lstStyle>
            <a:p>
              <a:pPr eaLnBrk="1" hangingPunct="1"/>
              <a:endParaRPr lang="de-DE" altLang="de-DE" sz="2040" dirty="0">
                <a:latin typeface="Trebuchet MS" panose="020B0603020202020204" pitchFamily="34" charset="0"/>
              </a:endParaRPr>
            </a:p>
          </p:txBody>
        </p:sp>
        <p:sp>
          <p:nvSpPr>
            <p:cNvPr id="9" name="TextBox 44">
              <a:extLst>
                <a:ext uri="{FF2B5EF4-FFF2-40B4-BE49-F238E27FC236}">
                  <a16:creationId xmlns:a16="http://schemas.microsoft.com/office/drawing/2014/main" id="{C39DE505-EF66-4F48-F5E5-699B097DEF59}"/>
                </a:ext>
              </a:extLst>
            </p:cNvPr>
            <p:cNvSpPr txBox="1"/>
            <p:nvPr/>
          </p:nvSpPr>
          <p:spPr>
            <a:xfrm>
              <a:off x="2702242" y="1917301"/>
              <a:ext cx="6213158" cy="332912"/>
            </a:xfrm>
            <a:prstGeom prst="rect">
              <a:avLst/>
            </a:prstGeom>
            <a:noFill/>
          </p:spPr>
          <p:txBody>
            <a:bodyPr wrap="square" lIns="0" tIns="0" rIns="0" bIns="0">
              <a:spAutoFit/>
            </a:bodyPr>
            <a:lstStyle/>
            <a:p>
              <a:pPr>
                <a:lnSpc>
                  <a:spcPct val="107500"/>
                </a:lnSpc>
                <a:defRPr/>
              </a:pPr>
              <a:r>
                <a:rPr lang="en-US" altLang="zh-CN" sz="2160" b="1" spc="48" dirty="0">
                  <a:solidFill>
                    <a:srgbClr val="000000"/>
                  </a:solidFill>
                  <a:latin typeface="Trebuchet MS" panose="020B0603020202020204" pitchFamily="34" charset="0"/>
                  <a:ea typeface="Arial"/>
                </a:rPr>
                <a:t>Yorck Zisgen, Melanie Scholz</a:t>
              </a:r>
            </a:p>
          </p:txBody>
        </p:sp>
        <p:sp>
          <p:nvSpPr>
            <p:cNvPr id="10" name="TextBox 46">
              <a:extLst>
                <a:ext uri="{FF2B5EF4-FFF2-40B4-BE49-F238E27FC236}">
                  <a16:creationId xmlns:a16="http://schemas.microsoft.com/office/drawing/2014/main" id="{2037DDCD-C920-E4E8-D079-B1B4B9FD2A6B}"/>
                </a:ext>
              </a:extLst>
            </p:cNvPr>
            <p:cNvSpPr txBox="1"/>
            <p:nvPr/>
          </p:nvSpPr>
          <p:spPr>
            <a:xfrm>
              <a:off x="2702242" y="2464034"/>
              <a:ext cx="6256020" cy="295466"/>
            </a:xfrm>
            <a:prstGeom prst="rect">
              <a:avLst/>
            </a:prstGeom>
            <a:noFill/>
          </p:spPr>
          <p:txBody>
            <a:bodyPr lIns="0" tIns="0" rIns="0" bIns="0">
              <a:spAutoFit/>
            </a:bodyPr>
            <a:lstStyle/>
            <a:p>
              <a:pPr>
                <a:tabLst>
                  <a:tab pos="2194618" algn="l"/>
                </a:tabLst>
                <a:defRPr/>
              </a:pPr>
              <a:r>
                <a:rPr lang="en-US" altLang="zh-CN" sz="1920" spc="-6" dirty="0">
                  <a:solidFill>
                    <a:srgbClr val="000000"/>
                  </a:solidFill>
                  <a:latin typeface="Trebuchet MS" panose="020B0603020202020204" pitchFamily="34" charset="0"/>
                  <a:ea typeface="Arial"/>
                </a:rPr>
                <a:t>Sprechstunde	</a:t>
              </a:r>
              <a:r>
                <a:rPr lang="en-US" altLang="zh-CN" sz="1920" spc="-6" dirty="0" err="1">
                  <a:solidFill>
                    <a:srgbClr val="000000"/>
                  </a:solidFill>
                  <a:latin typeface="Trebuchet MS" panose="020B0603020202020204" pitchFamily="34" charset="0"/>
                  <a:ea typeface="Arial"/>
                </a:rPr>
                <a:t>bitte</a:t>
              </a:r>
              <a:r>
                <a:rPr lang="en-US" altLang="zh-CN" sz="1920" spc="-6" dirty="0">
                  <a:solidFill>
                    <a:srgbClr val="000000"/>
                  </a:solidFill>
                  <a:latin typeface="Trebuchet MS" panose="020B0603020202020204" pitchFamily="34" charset="0"/>
                  <a:ea typeface="Arial"/>
                </a:rPr>
                <a:t> per E-Mail </a:t>
              </a:r>
              <a:r>
                <a:rPr lang="en-US" altLang="zh-CN" sz="1920" spc="-6" dirty="0" err="1">
                  <a:solidFill>
                    <a:srgbClr val="000000"/>
                  </a:solidFill>
                  <a:latin typeface="Trebuchet MS" panose="020B0603020202020204" pitchFamily="34" charset="0"/>
                  <a:ea typeface="Arial"/>
                </a:rPr>
                <a:t>anmelden</a:t>
              </a:r>
              <a:endParaRPr lang="en-US" altLang="zh-CN" sz="1920" spc="-12" dirty="0">
                <a:solidFill>
                  <a:srgbClr val="000000"/>
                </a:solidFill>
                <a:latin typeface="Trebuchet MS" panose="020B0603020202020204" pitchFamily="34" charset="0"/>
                <a:ea typeface="Arial"/>
              </a:endParaRPr>
            </a:p>
          </p:txBody>
        </p:sp>
        <p:sp>
          <p:nvSpPr>
            <p:cNvPr id="11" name="TextBox 47">
              <a:extLst>
                <a:ext uri="{FF2B5EF4-FFF2-40B4-BE49-F238E27FC236}">
                  <a16:creationId xmlns:a16="http://schemas.microsoft.com/office/drawing/2014/main" id="{8D1C8E36-3C6F-19EA-DF87-2CAA11003289}"/>
                </a:ext>
              </a:extLst>
            </p:cNvPr>
            <p:cNvSpPr txBox="1"/>
            <p:nvPr/>
          </p:nvSpPr>
          <p:spPr>
            <a:xfrm>
              <a:off x="2702242" y="2896470"/>
              <a:ext cx="6774180" cy="295466"/>
            </a:xfrm>
            <a:prstGeom prst="rect">
              <a:avLst/>
            </a:prstGeom>
            <a:noFill/>
          </p:spPr>
          <p:txBody>
            <a:bodyPr lIns="0" tIns="0" rIns="0" bIns="0">
              <a:spAutoFit/>
            </a:bodyPr>
            <a:lstStyle/>
            <a:p>
              <a:pPr>
                <a:tabLst>
                  <a:tab pos="2194618" algn="l"/>
                </a:tabLst>
                <a:defRPr/>
              </a:pPr>
              <a:r>
                <a:rPr lang="en-US" altLang="zh-CN" sz="1920" spc="-6" dirty="0">
                  <a:solidFill>
                    <a:srgbClr val="000000"/>
                  </a:solidFill>
                  <a:latin typeface="Trebuchet MS" panose="020B0603020202020204" pitchFamily="34" charset="0"/>
                  <a:ea typeface="Arial"/>
                </a:rPr>
                <a:t>E-Mail	yorck.zisgen@informatik.uni-kiel.de</a:t>
              </a:r>
            </a:p>
          </p:txBody>
        </p:sp>
      </p:grpSp>
      <p:sp>
        <p:nvSpPr>
          <p:cNvPr id="5" name="Footer Placeholder 4">
            <a:extLst>
              <a:ext uri="{FF2B5EF4-FFF2-40B4-BE49-F238E27FC236}">
                <a16:creationId xmlns:a16="http://schemas.microsoft.com/office/drawing/2014/main" id="{C65289BB-5FC9-4C0A-B447-F72658919DD2}"/>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
        <p:nvSpPr>
          <p:cNvPr id="6" name="Slide Number Placeholder 5">
            <a:extLst>
              <a:ext uri="{FF2B5EF4-FFF2-40B4-BE49-F238E27FC236}">
                <a16:creationId xmlns:a16="http://schemas.microsoft.com/office/drawing/2014/main" id="{FB66DB4F-C3FB-4EB2-8D11-FBE4B2CDEAA6}"/>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12</a:t>
            </a:fld>
            <a:r>
              <a:rPr lang="de-DE" spc="-10" dirty="0"/>
              <a:t> • </a:t>
            </a:r>
            <a:r>
              <a:rPr lang="de-DE" spc="-5" dirty="0"/>
              <a:t>Prof. </a:t>
            </a:r>
            <a:r>
              <a:rPr lang="de-DE" spc="-10" dirty="0"/>
              <a:t>Dr. Agnes Koschmider • Generative KI</a:t>
            </a:r>
          </a:p>
        </p:txBody>
      </p:sp>
    </p:spTree>
    <p:extLst>
      <p:ext uri="{BB962C8B-B14F-4D97-AF65-F5344CB8AC3E}">
        <p14:creationId xmlns:p14="http://schemas.microsoft.com/office/powerpoint/2010/main" val="14872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3B26BC2B-9684-4E08-A91E-73CD4C5A7168}"/>
              </a:ext>
            </a:extLst>
          </p:cNvPr>
          <p:cNvSpPr>
            <a:spLocks noGrp="1"/>
          </p:cNvSpPr>
          <p:nvPr>
            <p:ph type="title"/>
          </p:nvPr>
        </p:nvSpPr>
        <p:spPr/>
        <p:txBody>
          <a:bodyPr/>
          <a:lstStyle/>
          <a:p>
            <a:r>
              <a:rPr lang="de-DE" dirty="0"/>
              <a:t>Nützliche Links</a:t>
            </a:r>
            <a:endParaRPr lang="de-DE" dirty="0">
              <a:highlight>
                <a:srgbClr val="FFFFFF"/>
              </a:highlight>
            </a:endParaRPr>
          </a:p>
        </p:txBody>
      </p:sp>
      <p:sp>
        <p:nvSpPr>
          <p:cNvPr id="4" name="Textplatzhalter 3">
            <a:extLst>
              <a:ext uri="{FF2B5EF4-FFF2-40B4-BE49-F238E27FC236}">
                <a16:creationId xmlns:a16="http://schemas.microsoft.com/office/drawing/2014/main" id="{F1EE8ABB-C0A7-40F6-8B1F-DC0E1B7C0FFE}"/>
              </a:ext>
            </a:extLst>
          </p:cNvPr>
          <p:cNvSpPr>
            <a:spLocks noGrp="1"/>
          </p:cNvSpPr>
          <p:nvPr>
            <p:ph type="body" idx="1"/>
          </p:nvPr>
        </p:nvSpPr>
        <p:spPr>
          <a:xfrm>
            <a:off x="287860" y="1274313"/>
            <a:ext cx="11616287" cy="3716402"/>
          </a:xfrm>
        </p:spPr>
        <p:txBody>
          <a:bodyPr/>
          <a:lstStyle/>
          <a:p>
            <a:pPr marL="337193" marR="133989" indent="-325128" algn="just">
              <a:spcBef>
                <a:spcPts val="100"/>
              </a:spcBef>
              <a:buFont typeface="Wingdings"/>
              <a:buChar char=""/>
              <a:tabLst>
                <a:tab pos="337829" algn="l"/>
              </a:tabLst>
            </a:pPr>
            <a:endParaRPr lang="de-DE" spc="-5" dirty="0">
              <a:latin typeface="Trebuchet MS"/>
            </a:endParaRPr>
          </a:p>
          <a:p>
            <a:pPr marL="337193" marR="133989" indent="-325128" algn="just">
              <a:spcBef>
                <a:spcPts val="100"/>
              </a:spcBef>
              <a:buFont typeface="Wingdings"/>
              <a:buChar char=""/>
              <a:tabLst>
                <a:tab pos="337829" algn="l"/>
              </a:tabLst>
            </a:pPr>
            <a:endParaRPr lang="de-DE" spc="-5" dirty="0">
              <a:latin typeface="Trebuchet MS"/>
            </a:endParaRPr>
          </a:p>
          <a:p>
            <a:pPr marL="337193" marR="133989" indent="-325128" algn="just">
              <a:spcBef>
                <a:spcPts val="100"/>
              </a:spcBef>
              <a:buFont typeface="Wingdings"/>
              <a:buChar char=""/>
              <a:tabLst>
                <a:tab pos="337829" algn="l"/>
              </a:tabLst>
            </a:pPr>
            <a:r>
              <a:rPr lang="de-DE" spc="-5" dirty="0">
                <a:latin typeface="Trebuchet MS"/>
              </a:rPr>
              <a:t>Kursunterlagen auf </a:t>
            </a:r>
            <a:r>
              <a:rPr lang="de-DE" spc="-5" dirty="0" err="1">
                <a:latin typeface="Trebuchet MS"/>
                <a:hlinkClick r:id="rId3"/>
              </a:rPr>
              <a:t>e-Learning</a:t>
            </a:r>
            <a:r>
              <a:rPr lang="de-DE" spc="-5" dirty="0">
                <a:latin typeface="Trebuchet MS"/>
                <a:hlinkClick r:id="rId3"/>
              </a:rPr>
              <a:t> </a:t>
            </a:r>
            <a:r>
              <a:rPr lang="de-DE" spc="-5" dirty="0" err="1">
                <a:latin typeface="Trebuchet MS"/>
                <a:hlinkClick r:id="rId3"/>
              </a:rPr>
              <a:t>Platform</a:t>
            </a:r>
            <a:endParaRPr lang="de-DE" spc="-5" dirty="0">
              <a:latin typeface="Trebuchet MS"/>
            </a:endParaRPr>
          </a:p>
          <a:p>
            <a:endParaRPr lang="de-DE" dirty="0"/>
          </a:p>
          <a:p>
            <a:endParaRPr lang="de-DE" dirty="0"/>
          </a:p>
          <a:p>
            <a:pPr marL="285750" indent="-285750">
              <a:buFont typeface="Wingdings" panose="05000000000000000000" pitchFamily="2" charset="2"/>
              <a:buChar char="§"/>
            </a:pPr>
            <a:r>
              <a:rPr lang="de-DE" spc="-5" dirty="0">
                <a:latin typeface="Trebuchet MS"/>
              </a:rPr>
              <a:t>Übersicht über </a:t>
            </a:r>
            <a:r>
              <a:rPr lang="de-DE" spc="-5" dirty="0" err="1">
                <a:latin typeface="Trebuchet MS"/>
              </a:rPr>
              <a:t>GenAIs</a:t>
            </a:r>
            <a:r>
              <a:rPr lang="de-DE" spc="-5" dirty="0">
                <a:latin typeface="Trebuchet MS"/>
              </a:rPr>
              <a:t>: </a:t>
            </a:r>
            <a:r>
              <a:rPr lang="de-DE" spc="-5" dirty="0">
                <a:latin typeface="Trebuchet MS"/>
                <a:cs typeface="Trebuchet MS"/>
                <a:hlinkClick r:id="rId4"/>
              </a:rPr>
              <a:t>www.theresanaiforthat.com</a:t>
            </a:r>
            <a:endParaRPr lang="de-DE" spc="-5" dirty="0">
              <a:latin typeface="Trebuchet MS"/>
              <a:cs typeface="Trebuchet MS"/>
            </a:endParaRPr>
          </a:p>
          <a:p>
            <a:pPr marL="337193" marR="133989" indent="-325128" algn="just">
              <a:spcBef>
                <a:spcPts val="100"/>
              </a:spcBef>
              <a:buFont typeface="Wingdings" panose="05000000000000000000" pitchFamily="2" charset="2"/>
              <a:buChar char="§"/>
              <a:tabLst>
                <a:tab pos="337829" algn="l"/>
              </a:tabLst>
            </a:pPr>
            <a:endParaRPr lang="de-DE" spc="-5" dirty="0">
              <a:latin typeface="Trebuchet MS"/>
              <a:cs typeface="Trebuchet MS"/>
            </a:endParaRPr>
          </a:p>
          <a:p>
            <a:pPr marL="337193" marR="133989" indent="-325128" algn="just">
              <a:spcBef>
                <a:spcPts val="100"/>
              </a:spcBef>
              <a:buFont typeface="Wingdings" panose="05000000000000000000" pitchFamily="2" charset="2"/>
              <a:buChar char="§"/>
              <a:tabLst>
                <a:tab pos="337829" algn="l"/>
              </a:tabLst>
            </a:pPr>
            <a:endParaRPr lang="de-DE" spc="-5" dirty="0">
              <a:latin typeface="Trebuchet MS"/>
              <a:cs typeface="Trebuchet MS"/>
            </a:endParaRPr>
          </a:p>
          <a:p>
            <a:pPr marL="297815" marR="133989" indent="-285750" algn="just">
              <a:spcBef>
                <a:spcPts val="100"/>
              </a:spcBef>
              <a:buFont typeface="Wingdings" panose="05000000000000000000" pitchFamily="2" charset="2"/>
              <a:buChar char="§"/>
              <a:tabLst>
                <a:tab pos="337829" algn="l"/>
              </a:tabLst>
            </a:pPr>
            <a:r>
              <a:rPr lang="de-DE" spc="-5" dirty="0">
                <a:latin typeface="Trebuchet MS"/>
              </a:rPr>
              <a:t>Wissenschaftliches LLM: </a:t>
            </a:r>
            <a:r>
              <a:rPr lang="de-DE" spc="-5" dirty="0">
                <a:latin typeface="Trebuchet MS"/>
                <a:cs typeface="Trebuchet MS"/>
                <a:hlinkClick r:id="rId5"/>
              </a:rPr>
              <a:t>www.consensus.app</a:t>
            </a:r>
            <a:endParaRPr lang="de-DE" spc="-5" dirty="0">
              <a:latin typeface="Trebuchet MS"/>
              <a:cs typeface="Trebuchet MS"/>
            </a:endParaRPr>
          </a:p>
          <a:p>
            <a:pPr marL="297815" marR="133989" indent="-285750" algn="just">
              <a:spcBef>
                <a:spcPts val="100"/>
              </a:spcBef>
              <a:buFont typeface="Wingdings" panose="05000000000000000000" pitchFamily="2" charset="2"/>
              <a:buChar char="§"/>
              <a:tabLst>
                <a:tab pos="337829" algn="l"/>
              </a:tabLst>
            </a:pPr>
            <a:endParaRPr lang="de-DE" spc="-5" dirty="0">
              <a:latin typeface="Trebuchet MS"/>
              <a:cs typeface="Trebuchet MS"/>
              <a:hlinkClick r:id="rId6"/>
            </a:endParaRPr>
          </a:p>
          <a:p>
            <a:pPr marL="297815" marR="133989" indent="-285750" algn="just">
              <a:spcBef>
                <a:spcPts val="100"/>
              </a:spcBef>
              <a:buFont typeface="Wingdings" panose="05000000000000000000" pitchFamily="2" charset="2"/>
              <a:buChar char="§"/>
              <a:tabLst>
                <a:tab pos="337829" algn="l"/>
              </a:tabLst>
            </a:pPr>
            <a:endParaRPr lang="de-DE" spc="-5" dirty="0">
              <a:latin typeface="Trebuchet MS"/>
              <a:cs typeface="Trebuchet MS"/>
              <a:hlinkClick r:id="rId6"/>
            </a:endParaRPr>
          </a:p>
          <a:p>
            <a:pPr marL="297815" marR="133989" indent="-285750" algn="just">
              <a:spcBef>
                <a:spcPts val="100"/>
              </a:spcBef>
              <a:buFont typeface="Wingdings" panose="05000000000000000000" pitchFamily="2" charset="2"/>
              <a:buChar char="§"/>
              <a:tabLst>
                <a:tab pos="337829" algn="l"/>
              </a:tabLst>
            </a:pPr>
            <a:r>
              <a:rPr lang="de-DE" spc="-5" dirty="0">
                <a:latin typeface="Trebuchet MS"/>
              </a:rPr>
              <a:t>Mit einem PDF chatten: </a:t>
            </a:r>
            <a:r>
              <a:rPr lang="de-DE" spc="-5" dirty="0">
                <a:latin typeface="Trebuchet MS"/>
                <a:cs typeface="Trebuchet MS"/>
                <a:hlinkClick r:id="rId7"/>
              </a:rPr>
              <a:t>www.chatpdf.com</a:t>
            </a:r>
            <a:endParaRPr lang="de-DE" spc="-5" dirty="0">
              <a:latin typeface="Trebuchet MS"/>
              <a:cs typeface="Trebuchet MS"/>
            </a:endParaRPr>
          </a:p>
          <a:p>
            <a:pPr marL="297815" marR="133989" indent="-285750" algn="just">
              <a:spcBef>
                <a:spcPts val="100"/>
              </a:spcBef>
              <a:buFont typeface="Wingdings" panose="05000000000000000000" pitchFamily="2" charset="2"/>
              <a:buChar char="§"/>
              <a:tabLst>
                <a:tab pos="337829" algn="l"/>
              </a:tabLst>
            </a:pPr>
            <a:endParaRPr lang="de-DE" spc="-5" dirty="0">
              <a:latin typeface="Trebuchet MS"/>
              <a:cs typeface="Trebuchet MS"/>
            </a:endParaRPr>
          </a:p>
        </p:txBody>
      </p:sp>
      <p:sp>
        <p:nvSpPr>
          <p:cNvPr id="6" name="Footer Placeholder 5">
            <a:extLst>
              <a:ext uri="{FF2B5EF4-FFF2-40B4-BE49-F238E27FC236}">
                <a16:creationId xmlns:a16="http://schemas.microsoft.com/office/drawing/2014/main" id="{B6ED211F-57DB-4988-8EFD-71D9BE214BD7}"/>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
        <p:nvSpPr>
          <p:cNvPr id="7" name="Slide Number Placeholder 6">
            <a:extLst>
              <a:ext uri="{FF2B5EF4-FFF2-40B4-BE49-F238E27FC236}">
                <a16:creationId xmlns:a16="http://schemas.microsoft.com/office/drawing/2014/main" id="{6424F5A8-E17A-4E48-A6F6-5273DEBE739A}"/>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13</a:t>
            </a:fld>
            <a:r>
              <a:rPr lang="de-DE" spc="-10" dirty="0"/>
              <a:t> • </a:t>
            </a:r>
            <a:r>
              <a:rPr lang="de-DE" spc="-5" dirty="0"/>
              <a:t>Prof. </a:t>
            </a:r>
            <a:r>
              <a:rPr lang="de-DE" spc="-10" dirty="0"/>
              <a:t>Dr. Agnes Koschmider • Generative KI</a:t>
            </a:r>
          </a:p>
        </p:txBody>
      </p:sp>
      <p:pic>
        <p:nvPicPr>
          <p:cNvPr id="9" name="Grafik 8">
            <a:extLst>
              <a:ext uri="{FF2B5EF4-FFF2-40B4-BE49-F238E27FC236}">
                <a16:creationId xmlns:a16="http://schemas.microsoft.com/office/drawing/2014/main" id="{125398BA-7598-921B-E0A2-AF6D0132B7C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21908" y="1371600"/>
            <a:ext cx="3704884" cy="4724400"/>
          </a:xfrm>
          <a:prstGeom prst="rect">
            <a:avLst/>
          </a:prstGeom>
        </p:spPr>
      </p:pic>
    </p:spTree>
    <p:extLst>
      <p:ext uri="{BB962C8B-B14F-4D97-AF65-F5344CB8AC3E}">
        <p14:creationId xmlns:p14="http://schemas.microsoft.com/office/powerpoint/2010/main" val="887946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191445" y="397840"/>
            <a:ext cx="10705155" cy="369332"/>
          </a:xfrm>
        </p:spPr>
        <p:txBody>
          <a:bodyPr vert="horz" wrap="square" lIns="0" tIns="12700" rIns="0" bIns="0" rtlCol="0">
            <a:spAutoFit/>
          </a:bodyPr>
          <a:lstStyle/>
          <a:p>
            <a:r>
              <a:rPr lang="de-DE" dirty="0"/>
              <a:t>Themengebiete der Lehrveranstaltung</a:t>
            </a:r>
          </a:p>
        </p:txBody>
      </p:sp>
      <p:sp>
        <p:nvSpPr>
          <p:cNvPr id="5" name="object 5"/>
          <p:cNvSpPr txBox="1"/>
          <p:nvPr/>
        </p:nvSpPr>
        <p:spPr>
          <a:xfrm>
            <a:off x="3429000" y="1600200"/>
            <a:ext cx="4177665" cy="285976"/>
          </a:xfrm>
          <a:prstGeom prst="rect">
            <a:avLst/>
          </a:prstGeom>
          <a:solidFill>
            <a:srgbClr val="009F6F"/>
          </a:solidFill>
          <a:ln w="19811">
            <a:solidFill>
              <a:srgbClr val="7E7E7E"/>
            </a:solidFill>
          </a:ln>
        </p:spPr>
        <p:txBody>
          <a:bodyPr vert="horz" wrap="square" lIns="0" tIns="39370" rIns="0" bIns="0" rtlCol="0">
            <a:spAutoFit/>
          </a:bodyPr>
          <a:lstStyle/>
          <a:p>
            <a:pPr marL="90807">
              <a:spcBef>
                <a:spcPts val="310"/>
              </a:spcBef>
            </a:pPr>
            <a:r>
              <a:rPr lang="de-DE" sz="1600" spc="-5" dirty="0">
                <a:solidFill>
                  <a:srgbClr val="FFFFFF"/>
                </a:solidFill>
                <a:latin typeface="Trebuchet MS"/>
                <a:cs typeface="Trebuchet MS"/>
              </a:rPr>
              <a:t>Neuronale Netze &amp; Trainingsdaten</a:t>
            </a:r>
            <a:endParaRPr sz="1600" dirty="0">
              <a:latin typeface="Trebuchet MS"/>
              <a:cs typeface="Trebuchet MS"/>
            </a:endParaRPr>
          </a:p>
        </p:txBody>
      </p:sp>
      <p:sp>
        <p:nvSpPr>
          <p:cNvPr id="6" name="object 6"/>
          <p:cNvSpPr txBox="1"/>
          <p:nvPr/>
        </p:nvSpPr>
        <p:spPr>
          <a:xfrm>
            <a:off x="3429000" y="2104650"/>
            <a:ext cx="4177665" cy="284693"/>
          </a:xfrm>
          <a:prstGeom prst="rect">
            <a:avLst/>
          </a:prstGeom>
          <a:solidFill>
            <a:srgbClr val="009F6F"/>
          </a:solidFill>
          <a:ln w="19811">
            <a:solidFill>
              <a:srgbClr val="7E7E7E"/>
            </a:solidFill>
          </a:ln>
        </p:spPr>
        <p:txBody>
          <a:bodyPr vert="horz" wrap="square" lIns="0" tIns="38100" rIns="0" bIns="0" rtlCol="0">
            <a:spAutoFit/>
          </a:bodyPr>
          <a:lstStyle/>
          <a:p>
            <a:pPr marL="90807">
              <a:spcBef>
                <a:spcPts val="310"/>
              </a:spcBef>
            </a:pPr>
            <a:r>
              <a:rPr lang="de-DE" sz="1600" spc="-5" dirty="0">
                <a:solidFill>
                  <a:srgbClr val="FFFFFF"/>
                </a:solidFill>
                <a:latin typeface="Trebuchet MS"/>
                <a:cs typeface="Trebuchet MS"/>
              </a:rPr>
              <a:t>Prompt Engineering Strategien</a:t>
            </a:r>
            <a:endParaRPr lang="de-DE" sz="1600" dirty="0">
              <a:latin typeface="Trebuchet MS"/>
              <a:cs typeface="Trebuchet MS"/>
            </a:endParaRPr>
          </a:p>
        </p:txBody>
      </p:sp>
      <p:sp>
        <p:nvSpPr>
          <p:cNvPr id="7" name="object 7"/>
          <p:cNvSpPr txBox="1"/>
          <p:nvPr/>
        </p:nvSpPr>
        <p:spPr>
          <a:xfrm>
            <a:off x="3429000" y="2607569"/>
            <a:ext cx="4177665" cy="285335"/>
          </a:xfrm>
          <a:prstGeom prst="rect">
            <a:avLst/>
          </a:prstGeom>
          <a:solidFill>
            <a:srgbClr val="009F6F"/>
          </a:solidFill>
          <a:ln w="19811">
            <a:solidFill>
              <a:srgbClr val="7E7E7E"/>
            </a:solidFill>
          </a:ln>
        </p:spPr>
        <p:txBody>
          <a:bodyPr vert="horz" wrap="square" lIns="0" tIns="38735" rIns="0" bIns="0" rtlCol="0">
            <a:spAutoFit/>
          </a:bodyPr>
          <a:lstStyle/>
          <a:p>
            <a:pPr marL="90807">
              <a:spcBef>
                <a:spcPts val="310"/>
              </a:spcBef>
            </a:pPr>
            <a:r>
              <a:rPr lang="de-DE" sz="1600" spc="-5" dirty="0">
                <a:solidFill>
                  <a:srgbClr val="FFFFFF"/>
                </a:solidFill>
                <a:latin typeface="Trebuchet MS"/>
                <a:cs typeface="Trebuchet MS"/>
              </a:rPr>
              <a:t>LLM-basierte Anwendungen</a:t>
            </a:r>
            <a:endParaRPr lang="de-DE" sz="1600" dirty="0">
              <a:latin typeface="Trebuchet MS"/>
              <a:cs typeface="Trebuchet MS"/>
            </a:endParaRPr>
          </a:p>
        </p:txBody>
      </p:sp>
      <p:sp>
        <p:nvSpPr>
          <p:cNvPr id="8" name="object 8"/>
          <p:cNvSpPr txBox="1"/>
          <p:nvPr/>
        </p:nvSpPr>
        <p:spPr>
          <a:xfrm>
            <a:off x="3429000" y="3619274"/>
            <a:ext cx="4177665" cy="286617"/>
          </a:xfrm>
          <a:prstGeom prst="rect">
            <a:avLst/>
          </a:prstGeom>
          <a:solidFill>
            <a:srgbClr val="009F6F"/>
          </a:solidFill>
          <a:ln w="19811">
            <a:solidFill>
              <a:srgbClr val="7E7E7E"/>
            </a:solidFill>
          </a:ln>
        </p:spPr>
        <p:txBody>
          <a:bodyPr vert="horz" wrap="square" lIns="0" tIns="40005" rIns="0" bIns="0" rtlCol="0">
            <a:spAutoFit/>
          </a:bodyPr>
          <a:lstStyle/>
          <a:p>
            <a:pPr marL="90807">
              <a:spcBef>
                <a:spcPts val="310"/>
              </a:spcBef>
            </a:pPr>
            <a:r>
              <a:rPr lang="de-DE" sz="1600" spc="-5" dirty="0">
                <a:solidFill>
                  <a:srgbClr val="FFFFFF"/>
                </a:solidFill>
                <a:latin typeface="Trebuchet MS"/>
                <a:cs typeface="Trebuchet MS"/>
              </a:rPr>
              <a:t>Halluzination &amp; Verlässlichkeit von </a:t>
            </a:r>
            <a:r>
              <a:rPr lang="de-DE" sz="1600" spc="-5" dirty="0" err="1">
                <a:solidFill>
                  <a:srgbClr val="FFFFFF"/>
                </a:solidFill>
                <a:latin typeface="Trebuchet MS"/>
                <a:cs typeface="Trebuchet MS"/>
              </a:rPr>
              <a:t>GenAI</a:t>
            </a:r>
            <a:endParaRPr lang="de-DE" sz="1600" dirty="0">
              <a:latin typeface="Trebuchet MS"/>
              <a:cs typeface="Trebuchet MS"/>
            </a:endParaRPr>
          </a:p>
        </p:txBody>
      </p:sp>
      <p:sp>
        <p:nvSpPr>
          <p:cNvPr id="9" name="object 9"/>
          <p:cNvSpPr txBox="1"/>
          <p:nvPr/>
        </p:nvSpPr>
        <p:spPr>
          <a:xfrm>
            <a:off x="3429000" y="4123719"/>
            <a:ext cx="4177665" cy="285335"/>
          </a:xfrm>
          <a:prstGeom prst="rect">
            <a:avLst/>
          </a:prstGeom>
          <a:solidFill>
            <a:srgbClr val="009F6F"/>
          </a:solidFill>
          <a:ln w="19811">
            <a:solidFill>
              <a:srgbClr val="7E7E7E"/>
            </a:solidFill>
          </a:ln>
        </p:spPr>
        <p:txBody>
          <a:bodyPr vert="horz" wrap="square" lIns="0" tIns="38735" rIns="0" bIns="0" rtlCol="0">
            <a:spAutoFit/>
          </a:bodyPr>
          <a:lstStyle/>
          <a:p>
            <a:pPr marL="90807">
              <a:spcBef>
                <a:spcPts val="305"/>
              </a:spcBef>
            </a:pPr>
            <a:r>
              <a:rPr lang="de-DE" sz="1600" spc="-5" dirty="0">
                <a:solidFill>
                  <a:srgbClr val="FFFFFF"/>
                </a:solidFill>
                <a:latin typeface="Trebuchet MS"/>
                <a:cs typeface="Trebuchet MS"/>
              </a:rPr>
              <a:t>Model Bias</a:t>
            </a:r>
            <a:endParaRPr lang="de-DE" sz="1600" dirty="0">
              <a:latin typeface="Trebuchet MS"/>
              <a:cs typeface="Trebuchet MS"/>
            </a:endParaRPr>
          </a:p>
        </p:txBody>
      </p:sp>
      <p:sp>
        <p:nvSpPr>
          <p:cNvPr id="10" name="object 10"/>
          <p:cNvSpPr txBox="1"/>
          <p:nvPr/>
        </p:nvSpPr>
        <p:spPr>
          <a:xfrm>
            <a:off x="3429000" y="4626633"/>
            <a:ext cx="4177665" cy="285976"/>
          </a:xfrm>
          <a:prstGeom prst="rect">
            <a:avLst/>
          </a:prstGeom>
          <a:solidFill>
            <a:srgbClr val="009F6F"/>
          </a:solidFill>
          <a:ln w="19811">
            <a:solidFill>
              <a:srgbClr val="7E7E7E"/>
            </a:solidFill>
          </a:ln>
        </p:spPr>
        <p:txBody>
          <a:bodyPr vert="horz" wrap="square" lIns="0" tIns="39370" rIns="0" bIns="0" rtlCol="0">
            <a:spAutoFit/>
          </a:bodyPr>
          <a:lstStyle/>
          <a:p>
            <a:pPr marL="90807">
              <a:spcBef>
                <a:spcPts val="310"/>
              </a:spcBef>
            </a:pPr>
            <a:r>
              <a:rPr lang="de-DE" sz="1600" spc="-5" dirty="0">
                <a:solidFill>
                  <a:srgbClr val="FFFFFF"/>
                </a:solidFill>
                <a:latin typeface="Trebuchet MS"/>
                <a:cs typeface="Trebuchet MS"/>
              </a:rPr>
              <a:t>Ethische &amp; Rechtliche Fragestellungen</a:t>
            </a:r>
            <a:endParaRPr lang="de-DE" sz="1600" dirty="0">
              <a:latin typeface="Trebuchet MS"/>
              <a:cs typeface="Trebuchet MS"/>
            </a:endParaRPr>
          </a:p>
        </p:txBody>
      </p:sp>
      <p:sp>
        <p:nvSpPr>
          <p:cNvPr id="11" name="object 11"/>
          <p:cNvSpPr txBox="1"/>
          <p:nvPr/>
        </p:nvSpPr>
        <p:spPr>
          <a:xfrm>
            <a:off x="3429000" y="5129560"/>
            <a:ext cx="4177665" cy="286617"/>
          </a:xfrm>
          <a:prstGeom prst="rect">
            <a:avLst/>
          </a:prstGeom>
          <a:solidFill>
            <a:srgbClr val="009F6F"/>
          </a:solidFill>
          <a:ln w="19811">
            <a:solidFill>
              <a:srgbClr val="7E7E7E"/>
            </a:solidFill>
          </a:ln>
        </p:spPr>
        <p:txBody>
          <a:bodyPr vert="horz" wrap="square" lIns="0" tIns="40005" rIns="0" bIns="0" rtlCol="0">
            <a:spAutoFit/>
          </a:bodyPr>
          <a:lstStyle/>
          <a:p>
            <a:pPr marL="90807">
              <a:spcBef>
                <a:spcPts val="310"/>
              </a:spcBef>
            </a:pPr>
            <a:r>
              <a:rPr lang="de-DE" sz="1600" spc="-5" dirty="0" err="1">
                <a:solidFill>
                  <a:srgbClr val="FFFFFF"/>
                </a:solidFill>
                <a:latin typeface="Trebuchet MS"/>
                <a:cs typeface="Trebuchet MS"/>
              </a:rPr>
              <a:t>Foundation</a:t>
            </a:r>
            <a:r>
              <a:rPr lang="de-DE" sz="1600" spc="-5" dirty="0">
                <a:solidFill>
                  <a:srgbClr val="FFFFFF"/>
                </a:solidFill>
                <a:latin typeface="Trebuchet MS"/>
                <a:cs typeface="Trebuchet MS"/>
              </a:rPr>
              <a:t> Models</a:t>
            </a:r>
            <a:endParaRPr lang="de-DE" sz="1600" dirty="0">
              <a:latin typeface="Trebuchet MS"/>
              <a:cs typeface="Trebuchet MS"/>
            </a:endParaRPr>
          </a:p>
        </p:txBody>
      </p:sp>
      <p:sp>
        <p:nvSpPr>
          <p:cNvPr id="12" name="object 12"/>
          <p:cNvSpPr txBox="1"/>
          <p:nvPr/>
        </p:nvSpPr>
        <p:spPr>
          <a:xfrm>
            <a:off x="3429000" y="5634003"/>
            <a:ext cx="4177665" cy="285975"/>
          </a:xfrm>
          <a:prstGeom prst="rect">
            <a:avLst/>
          </a:prstGeom>
          <a:solidFill>
            <a:srgbClr val="009F6F"/>
          </a:solidFill>
          <a:ln w="19811">
            <a:solidFill>
              <a:srgbClr val="7E7E7E"/>
            </a:solidFill>
          </a:ln>
        </p:spPr>
        <p:txBody>
          <a:bodyPr vert="horz" wrap="square" lIns="0" tIns="39369" rIns="0" bIns="0" rtlCol="0">
            <a:spAutoFit/>
          </a:bodyPr>
          <a:lstStyle/>
          <a:p>
            <a:pPr marL="90807">
              <a:spcBef>
                <a:spcPts val="310"/>
              </a:spcBef>
            </a:pPr>
            <a:r>
              <a:rPr lang="de-DE" sz="1600" spc="-5" dirty="0">
                <a:solidFill>
                  <a:srgbClr val="FFFFFF"/>
                </a:solidFill>
                <a:latin typeface="Trebuchet MS"/>
                <a:cs typeface="Trebuchet MS"/>
              </a:rPr>
              <a:t>Multimodale KI</a:t>
            </a:r>
            <a:endParaRPr lang="de-DE" sz="1600" dirty="0">
              <a:latin typeface="Trebuchet MS"/>
              <a:cs typeface="Trebuchet MS"/>
            </a:endParaRPr>
          </a:p>
        </p:txBody>
      </p:sp>
      <p:sp>
        <p:nvSpPr>
          <p:cNvPr id="16" name="object 7">
            <a:extLst>
              <a:ext uri="{FF2B5EF4-FFF2-40B4-BE49-F238E27FC236}">
                <a16:creationId xmlns:a16="http://schemas.microsoft.com/office/drawing/2014/main" id="{B3A0BC3D-3CA2-46A8-9AC8-3A95B6332989}"/>
              </a:ext>
            </a:extLst>
          </p:cNvPr>
          <p:cNvSpPr txBox="1"/>
          <p:nvPr/>
        </p:nvSpPr>
        <p:spPr>
          <a:xfrm>
            <a:off x="3430009" y="3100578"/>
            <a:ext cx="4177665" cy="285335"/>
          </a:xfrm>
          <a:prstGeom prst="rect">
            <a:avLst/>
          </a:prstGeom>
          <a:solidFill>
            <a:srgbClr val="009F6F"/>
          </a:solidFill>
          <a:ln w="19811">
            <a:solidFill>
              <a:srgbClr val="7E7E7E"/>
            </a:solidFill>
          </a:ln>
        </p:spPr>
        <p:txBody>
          <a:bodyPr vert="horz" wrap="square" lIns="0" tIns="38735" rIns="0" bIns="0" rtlCol="0">
            <a:spAutoFit/>
          </a:bodyPr>
          <a:lstStyle/>
          <a:p>
            <a:pPr marL="90807">
              <a:spcBef>
                <a:spcPts val="310"/>
              </a:spcBef>
            </a:pPr>
            <a:r>
              <a:rPr lang="de-DE" sz="1600" spc="-5" dirty="0">
                <a:solidFill>
                  <a:srgbClr val="FFFFFF"/>
                </a:solidFill>
                <a:latin typeface="Trebuchet MS"/>
                <a:cs typeface="Trebuchet MS"/>
              </a:rPr>
              <a:t>Konzepte: Chunking, Embedding, Retrieval</a:t>
            </a:r>
            <a:endParaRPr lang="de-DE" sz="1600" dirty="0">
              <a:latin typeface="Trebuchet MS"/>
              <a:cs typeface="Trebuchet MS"/>
            </a:endParaRPr>
          </a:p>
        </p:txBody>
      </p:sp>
      <p:sp>
        <p:nvSpPr>
          <p:cNvPr id="2" name="Footer Placeholder 1">
            <a:extLst>
              <a:ext uri="{FF2B5EF4-FFF2-40B4-BE49-F238E27FC236}">
                <a16:creationId xmlns:a16="http://schemas.microsoft.com/office/drawing/2014/main" id="{95DEE888-7498-4688-A58A-AEE8310FC3D5}"/>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
        <p:nvSpPr>
          <p:cNvPr id="3" name="Slide Number Placeholder 2">
            <a:extLst>
              <a:ext uri="{FF2B5EF4-FFF2-40B4-BE49-F238E27FC236}">
                <a16:creationId xmlns:a16="http://schemas.microsoft.com/office/drawing/2014/main" id="{1D9F95B9-0C82-4A92-82A6-2A300B4E619E}"/>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14</a:t>
            </a:fld>
            <a:r>
              <a:rPr lang="de-DE" spc="-10" dirty="0"/>
              <a:t> • </a:t>
            </a:r>
            <a:r>
              <a:rPr lang="de-DE" spc="-5" dirty="0"/>
              <a:t>Prof. </a:t>
            </a:r>
            <a:r>
              <a:rPr lang="de-DE" spc="-10" dirty="0"/>
              <a:t>Dr. Agnes Koschmider • Generative KI</a:t>
            </a:r>
          </a:p>
        </p:txBody>
      </p:sp>
    </p:spTree>
    <p:extLst>
      <p:ext uri="{BB962C8B-B14F-4D97-AF65-F5344CB8AC3E}">
        <p14:creationId xmlns:p14="http://schemas.microsoft.com/office/powerpoint/2010/main" val="35546380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a:spLocks noGrp="1"/>
          </p:cNvSpPr>
          <p:nvPr>
            <p:ph type="title"/>
          </p:nvPr>
        </p:nvSpPr>
        <p:spPr>
          <a:xfrm>
            <a:off x="191445" y="397840"/>
            <a:ext cx="10705155" cy="369332"/>
          </a:xfrm>
        </p:spPr>
        <p:txBody>
          <a:bodyPr vert="horz" wrap="square" lIns="0" tIns="12700" rIns="0" bIns="0" rtlCol="0">
            <a:spAutoFit/>
          </a:bodyPr>
          <a:lstStyle/>
          <a:p>
            <a:r>
              <a:rPr lang="de-DE" dirty="0"/>
              <a:t>Literatur</a:t>
            </a:r>
          </a:p>
        </p:txBody>
      </p:sp>
      <p:sp>
        <p:nvSpPr>
          <p:cNvPr id="2" name="Footer Placeholder 1">
            <a:extLst>
              <a:ext uri="{FF2B5EF4-FFF2-40B4-BE49-F238E27FC236}">
                <a16:creationId xmlns:a16="http://schemas.microsoft.com/office/drawing/2014/main" id="{E7F16CF6-4728-4552-82EF-60C98B84BADF}"/>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
        <p:nvSpPr>
          <p:cNvPr id="3" name="Slide Number Placeholder 2">
            <a:extLst>
              <a:ext uri="{FF2B5EF4-FFF2-40B4-BE49-F238E27FC236}">
                <a16:creationId xmlns:a16="http://schemas.microsoft.com/office/drawing/2014/main" id="{114A18CF-7D9E-4E9F-879E-FA2F458F819B}"/>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15</a:t>
            </a:fld>
            <a:r>
              <a:rPr lang="de-DE" spc="-10"/>
              <a:t> • </a:t>
            </a:r>
            <a:r>
              <a:rPr lang="de-DE" spc="-5"/>
              <a:t>Prof. </a:t>
            </a:r>
            <a:r>
              <a:rPr lang="de-DE" spc="-10"/>
              <a:t>Dr. Agnes Koschmider • Data Engineering</a:t>
            </a:r>
            <a:endParaRPr lang="de-DE" spc="-10" dirty="0"/>
          </a:p>
        </p:txBody>
      </p:sp>
      <p:sp>
        <p:nvSpPr>
          <p:cNvPr id="7" name="Textplatzhalter 3">
            <a:extLst>
              <a:ext uri="{FF2B5EF4-FFF2-40B4-BE49-F238E27FC236}">
                <a16:creationId xmlns:a16="http://schemas.microsoft.com/office/drawing/2014/main" id="{62EE9054-90FD-9036-29D4-FE9A51691E5C}"/>
              </a:ext>
            </a:extLst>
          </p:cNvPr>
          <p:cNvSpPr>
            <a:spLocks noGrp="1"/>
          </p:cNvSpPr>
          <p:nvPr>
            <p:ph type="body" idx="1"/>
          </p:nvPr>
        </p:nvSpPr>
        <p:spPr>
          <a:xfrm>
            <a:off x="287860" y="1274313"/>
            <a:ext cx="11616287" cy="4547399"/>
          </a:xfrm>
        </p:spPr>
        <p:txBody>
          <a:bodyPr/>
          <a:lstStyle/>
          <a:p>
            <a:pPr marL="337193" marR="133989" indent="-325128" algn="just">
              <a:spcBef>
                <a:spcPts val="100"/>
              </a:spcBef>
              <a:buFont typeface="Wingdings"/>
              <a:buChar char=""/>
              <a:tabLst>
                <a:tab pos="337829" algn="l"/>
              </a:tabLst>
            </a:pPr>
            <a:endParaRPr lang="de-DE" spc="-5" dirty="0">
              <a:latin typeface="Trebuchet MS" panose="020B0603020202020204" pitchFamily="34" charset="0"/>
            </a:endParaRPr>
          </a:p>
          <a:p>
            <a:pPr marL="337193" marR="133989" indent="-325128" algn="just">
              <a:spcBef>
                <a:spcPts val="100"/>
              </a:spcBef>
              <a:buFont typeface="Wingdings"/>
              <a:buChar char=""/>
              <a:tabLst>
                <a:tab pos="337829" algn="l"/>
              </a:tabLst>
            </a:pPr>
            <a:r>
              <a:rPr lang="de-DE" spc="-5" dirty="0">
                <a:latin typeface="Trebuchet MS" panose="020B0603020202020204" pitchFamily="34" charset="0"/>
              </a:rPr>
              <a:t>Generative Künstliche Intelligenz. Seufert, Handschuh (Hrsg.). Schäffer-Poeschel Verlag Stuttgart.</a:t>
            </a:r>
            <a:br>
              <a:rPr lang="de-DE" spc="-5" dirty="0">
                <a:latin typeface="Trebuchet MS" panose="020B0603020202020204" pitchFamily="34" charset="0"/>
              </a:rPr>
            </a:br>
            <a:r>
              <a:rPr lang="de-DE" spc="-5" dirty="0">
                <a:latin typeface="Trebuchet MS" panose="020B0603020202020204" pitchFamily="34" charset="0"/>
              </a:rPr>
              <a:t>St. Gallen: 1. Aufl. 2024</a:t>
            </a:r>
          </a:p>
          <a:p>
            <a:pPr marL="337193" marR="133989" indent="-325128" algn="just">
              <a:spcBef>
                <a:spcPts val="100"/>
              </a:spcBef>
              <a:buFont typeface="Wingdings"/>
              <a:buChar char=""/>
              <a:tabLst>
                <a:tab pos="337829" algn="l"/>
              </a:tabLst>
            </a:pPr>
            <a:endParaRPr lang="de-DE" spc="-5" dirty="0">
              <a:latin typeface="Trebuchet MS" panose="020B0603020202020204" pitchFamily="34" charset="0"/>
            </a:endParaRPr>
          </a:p>
          <a:p>
            <a:pPr marL="337193" marR="133989" indent="-325128" algn="just">
              <a:spcBef>
                <a:spcPts val="100"/>
              </a:spcBef>
              <a:buFont typeface="Wingdings"/>
              <a:buChar char=""/>
              <a:tabLst>
                <a:tab pos="337829" algn="l"/>
              </a:tabLst>
            </a:pPr>
            <a:endParaRPr lang="de-DE" spc="-5" dirty="0">
              <a:latin typeface="Trebuchet MS" panose="020B0603020202020204" pitchFamily="34" charset="0"/>
            </a:endParaRPr>
          </a:p>
          <a:p>
            <a:pPr marL="337193" marR="133989" indent="-325128" algn="just">
              <a:spcBef>
                <a:spcPts val="100"/>
              </a:spcBef>
              <a:buFont typeface="Wingdings"/>
              <a:buChar char=""/>
              <a:tabLst>
                <a:tab pos="337829" algn="l"/>
              </a:tabLst>
            </a:pPr>
            <a:r>
              <a:rPr lang="de-DE" b="0" i="0" u="none" strike="noStrike" baseline="0" dirty="0">
                <a:solidFill>
                  <a:srgbClr val="000000"/>
                </a:solidFill>
                <a:latin typeface="Trebuchet MS" panose="020B0603020202020204" pitchFamily="34" charset="0"/>
              </a:rPr>
              <a:t>Leible, S., </a:t>
            </a:r>
            <a:r>
              <a:rPr lang="de-DE" b="0" i="0" u="none" strike="noStrike" baseline="0" dirty="0" err="1">
                <a:solidFill>
                  <a:srgbClr val="000000"/>
                </a:solidFill>
                <a:latin typeface="Trebuchet MS" panose="020B0603020202020204" pitchFamily="34" charset="0"/>
              </a:rPr>
              <a:t>Gücük</a:t>
            </a:r>
            <a:r>
              <a:rPr lang="de-DE" b="0" i="0" u="none" strike="noStrike" baseline="0" dirty="0">
                <a:solidFill>
                  <a:srgbClr val="000000"/>
                </a:solidFill>
                <a:latin typeface="Trebuchet MS" panose="020B0603020202020204" pitchFamily="34" charset="0"/>
              </a:rPr>
              <a:t>, G. L., Simic, D., Brackel-Schmidt, C. von &amp; Lewandowski, T. (2024).</a:t>
            </a:r>
            <a:br>
              <a:rPr lang="de-DE" b="0" i="0" u="none" strike="noStrike" baseline="0" dirty="0">
                <a:solidFill>
                  <a:srgbClr val="000000"/>
                </a:solidFill>
                <a:latin typeface="Trebuchet MS" panose="020B0603020202020204" pitchFamily="34" charset="0"/>
              </a:rPr>
            </a:br>
            <a:r>
              <a:rPr lang="de-DE" b="0" i="0" u="none" strike="noStrike" baseline="0" dirty="0">
                <a:solidFill>
                  <a:srgbClr val="000000"/>
                </a:solidFill>
                <a:latin typeface="Trebuchet MS" panose="020B0603020202020204" pitchFamily="34" charset="0"/>
              </a:rPr>
              <a:t>Zwischen Forschung und Praxis: Fähigkeiten und Limitationen generativer KI sowie ihre wachsende Bedeutung in der Zukunft.</a:t>
            </a:r>
          </a:p>
          <a:p>
            <a:pPr marL="12065" marR="133989" algn="just">
              <a:spcBef>
                <a:spcPts val="100"/>
              </a:spcBef>
              <a:tabLst>
                <a:tab pos="337829" algn="l"/>
              </a:tabLst>
            </a:pPr>
            <a:r>
              <a:rPr lang="de-DE" dirty="0">
                <a:solidFill>
                  <a:srgbClr val="000000"/>
                </a:solidFill>
                <a:latin typeface="Trebuchet MS" panose="020B0603020202020204" pitchFamily="34" charset="0"/>
              </a:rPr>
              <a:t>	</a:t>
            </a:r>
            <a:r>
              <a:rPr lang="de-DE" b="0" i="1" u="none" strike="noStrike" baseline="0" dirty="0">
                <a:solidFill>
                  <a:srgbClr val="000000"/>
                </a:solidFill>
                <a:latin typeface="Trebuchet MS" panose="020B0603020202020204" pitchFamily="34" charset="0"/>
              </a:rPr>
              <a:t>HMD Praxis der Wirtschaftsinformatik</a:t>
            </a:r>
            <a:r>
              <a:rPr lang="de-DE" b="0" i="0" u="none" strike="noStrike" baseline="0" dirty="0">
                <a:solidFill>
                  <a:srgbClr val="000000"/>
                </a:solidFill>
                <a:latin typeface="Trebuchet MS" panose="020B0603020202020204" pitchFamily="34" charset="0"/>
              </a:rPr>
              <a:t>. https://doi.org/10.1365/s40702-024-01050-x </a:t>
            </a:r>
          </a:p>
          <a:p>
            <a:pPr marL="12065" marR="133989" algn="just">
              <a:spcBef>
                <a:spcPts val="100"/>
              </a:spcBef>
              <a:tabLst>
                <a:tab pos="337829" algn="l"/>
              </a:tabLst>
            </a:pPr>
            <a:endParaRPr lang="de-DE" dirty="0">
              <a:solidFill>
                <a:srgbClr val="000000"/>
              </a:solidFill>
              <a:latin typeface="Trebuchet MS" panose="020B0603020202020204" pitchFamily="34" charset="0"/>
            </a:endParaRPr>
          </a:p>
          <a:p>
            <a:pPr marL="12065" marR="133989" algn="just">
              <a:spcBef>
                <a:spcPts val="100"/>
              </a:spcBef>
              <a:tabLst>
                <a:tab pos="337829" algn="l"/>
              </a:tabLst>
            </a:pPr>
            <a:endParaRPr lang="de-DE" dirty="0">
              <a:solidFill>
                <a:srgbClr val="000000"/>
              </a:solidFill>
              <a:latin typeface="Trebuchet MS" panose="020B0603020202020204" pitchFamily="34" charset="0"/>
            </a:endParaRPr>
          </a:p>
          <a:p>
            <a:pPr marL="297815" marR="133989" indent="-285750" algn="just">
              <a:spcBef>
                <a:spcPts val="100"/>
              </a:spcBef>
              <a:buFont typeface="Wingdings" panose="05000000000000000000" pitchFamily="2" charset="2"/>
              <a:buChar char="§"/>
              <a:tabLst>
                <a:tab pos="337829" algn="l"/>
              </a:tabLst>
            </a:pPr>
            <a:r>
              <a:rPr lang="de-DE" sz="1800" b="0" i="0" u="none" strike="noStrike" baseline="0" dirty="0">
                <a:solidFill>
                  <a:srgbClr val="000000"/>
                </a:solidFill>
                <a:latin typeface="Arial" panose="020B0604020202020204" pitchFamily="34" charset="0"/>
              </a:rPr>
              <a:t>Gimpel, H., Hall, K., Decker, S., Eymann, T., Lämmermann, L., </a:t>
            </a:r>
            <a:r>
              <a:rPr lang="de-DE" sz="1800" b="0" i="0" u="none" strike="noStrike" baseline="0" dirty="0" err="1">
                <a:solidFill>
                  <a:srgbClr val="000000"/>
                </a:solidFill>
                <a:latin typeface="Arial" panose="020B0604020202020204" pitchFamily="34" charset="0"/>
              </a:rPr>
              <a:t>Mädche</a:t>
            </a:r>
            <a:r>
              <a:rPr lang="de-DE" sz="1800" b="0" i="0" u="none" strike="noStrike" baseline="0" dirty="0">
                <a:solidFill>
                  <a:srgbClr val="000000"/>
                </a:solidFill>
                <a:latin typeface="Arial" panose="020B0604020202020204" pitchFamily="34" charset="0"/>
              </a:rPr>
              <a:t>, A., </a:t>
            </a:r>
            <a:r>
              <a:rPr lang="de-DE" sz="1800" b="0" i="0" u="none" strike="noStrike" baseline="0" dirty="0" err="1">
                <a:solidFill>
                  <a:srgbClr val="000000"/>
                </a:solidFill>
                <a:latin typeface="Arial" panose="020B0604020202020204" pitchFamily="34" charset="0"/>
              </a:rPr>
              <a:t>Röglinger</a:t>
            </a:r>
            <a:r>
              <a:rPr lang="de-DE" sz="1800" b="0" i="0" u="none" strike="noStrike" baseline="0" dirty="0">
                <a:solidFill>
                  <a:srgbClr val="000000"/>
                </a:solidFill>
                <a:latin typeface="Arial" panose="020B0604020202020204" pitchFamily="34" charset="0"/>
              </a:rPr>
              <a:t>, R., </a:t>
            </a:r>
            <a:r>
              <a:rPr lang="de-DE" sz="1800" b="0" i="0" u="none" strike="noStrike" baseline="0" dirty="0" err="1">
                <a:solidFill>
                  <a:srgbClr val="000000"/>
                </a:solidFill>
                <a:latin typeface="Arial" panose="020B0604020202020204" pitchFamily="34" charset="0"/>
              </a:rPr>
              <a:t>Ruiner</a:t>
            </a:r>
            <a:r>
              <a:rPr lang="de-DE" sz="1800" b="0" i="0" u="none" strike="noStrike" baseline="0" dirty="0">
                <a:solidFill>
                  <a:srgbClr val="000000"/>
                </a:solidFill>
                <a:latin typeface="Arial" panose="020B0604020202020204" pitchFamily="34" charset="0"/>
              </a:rPr>
              <a:t>, C., Schoch, M., Schoop, M., Urbach, N., </a:t>
            </a:r>
            <a:r>
              <a:rPr lang="de-DE" sz="1800" b="0" i="0" u="none" strike="noStrike" baseline="0" dirty="0" err="1">
                <a:solidFill>
                  <a:srgbClr val="000000"/>
                </a:solidFill>
                <a:latin typeface="Arial" panose="020B0604020202020204" pitchFamily="34" charset="0"/>
              </a:rPr>
              <a:t>Vandirk</a:t>
            </a:r>
            <a:r>
              <a:rPr lang="de-DE" sz="1800" b="0" i="0" u="none" strike="noStrike" baseline="0" dirty="0">
                <a:solidFill>
                  <a:srgbClr val="000000"/>
                </a:solidFill>
                <a:latin typeface="Arial" panose="020B0604020202020204" pitchFamily="34" charset="0"/>
              </a:rPr>
              <a:t>, S. (2023). </a:t>
            </a:r>
            <a:r>
              <a:rPr lang="de-DE" sz="1800" b="0" i="0" u="none" strike="noStrike" baseline="0" dirty="0" err="1">
                <a:solidFill>
                  <a:srgbClr val="000000"/>
                </a:solidFill>
                <a:latin typeface="Arial" panose="020B0604020202020204" pitchFamily="34" charset="0"/>
              </a:rPr>
              <a:t>Unlocking</a:t>
            </a:r>
            <a:r>
              <a:rPr lang="de-DE" sz="1800" b="0" i="0" u="none" strike="noStrike" baseline="0" dirty="0">
                <a:solidFill>
                  <a:srgbClr val="000000"/>
                </a:solidFill>
                <a:latin typeface="Arial" panose="020B0604020202020204" pitchFamily="34" charset="0"/>
              </a:rPr>
              <a:t> </a:t>
            </a:r>
            <a:r>
              <a:rPr lang="de-DE" sz="1800" b="0" i="0" u="none" strike="noStrike" baseline="0" dirty="0" err="1">
                <a:solidFill>
                  <a:srgbClr val="000000"/>
                </a:solidFill>
                <a:latin typeface="Arial" panose="020B0604020202020204" pitchFamily="34" charset="0"/>
              </a:rPr>
              <a:t>the</a:t>
            </a:r>
            <a:r>
              <a:rPr lang="de-DE" sz="1800" b="0" i="0" u="none" strike="noStrike" baseline="0" dirty="0">
                <a:solidFill>
                  <a:srgbClr val="000000"/>
                </a:solidFill>
                <a:latin typeface="Arial" panose="020B0604020202020204" pitchFamily="34" charset="0"/>
              </a:rPr>
              <a:t> Power </a:t>
            </a:r>
            <a:r>
              <a:rPr lang="de-DE" sz="1800" b="0" i="0" u="none" strike="noStrike" baseline="0" dirty="0" err="1">
                <a:solidFill>
                  <a:srgbClr val="000000"/>
                </a:solidFill>
                <a:latin typeface="Arial" panose="020B0604020202020204" pitchFamily="34" charset="0"/>
              </a:rPr>
              <a:t>of</a:t>
            </a:r>
            <a:r>
              <a:rPr lang="de-DE" sz="1800" b="0" i="0" u="none" strike="noStrike" baseline="0" dirty="0">
                <a:solidFill>
                  <a:srgbClr val="000000"/>
                </a:solidFill>
                <a:latin typeface="Arial" panose="020B0604020202020204" pitchFamily="34" charset="0"/>
              </a:rPr>
              <a:t> Generative AI Models and Systems such </a:t>
            </a:r>
            <a:r>
              <a:rPr lang="de-DE" sz="1800" b="0" i="0" u="none" strike="noStrike" baseline="0" dirty="0" err="1">
                <a:solidFill>
                  <a:srgbClr val="000000"/>
                </a:solidFill>
                <a:latin typeface="Arial" panose="020B0604020202020204" pitchFamily="34" charset="0"/>
              </a:rPr>
              <a:t>as</a:t>
            </a:r>
            <a:r>
              <a:rPr lang="de-DE" sz="1800" b="0" i="0" u="none" strike="noStrike" baseline="0" dirty="0">
                <a:solidFill>
                  <a:srgbClr val="000000"/>
                </a:solidFill>
                <a:latin typeface="Arial" panose="020B0604020202020204" pitchFamily="34" charset="0"/>
              </a:rPr>
              <a:t> GPT-4 and </a:t>
            </a:r>
            <a:r>
              <a:rPr lang="de-DE" sz="1800" b="0" i="0" u="none" strike="noStrike" baseline="0" dirty="0" err="1">
                <a:solidFill>
                  <a:srgbClr val="000000"/>
                </a:solidFill>
                <a:latin typeface="Arial" panose="020B0604020202020204" pitchFamily="34" charset="0"/>
              </a:rPr>
              <a:t>ChatGPT</a:t>
            </a:r>
            <a:r>
              <a:rPr lang="de-DE" sz="1800" b="0" i="0" u="none" strike="noStrike" baseline="0" dirty="0">
                <a:solidFill>
                  <a:srgbClr val="000000"/>
                </a:solidFill>
                <a:latin typeface="Arial" panose="020B0604020202020204" pitchFamily="34" charset="0"/>
              </a:rPr>
              <a:t> </a:t>
            </a:r>
            <a:r>
              <a:rPr lang="de-DE" sz="1800" b="0" i="0" u="none" strike="noStrike" baseline="0" dirty="0" err="1">
                <a:solidFill>
                  <a:srgbClr val="000000"/>
                </a:solidFill>
                <a:latin typeface="Arial" panose="020B0604020202020204" pitchFamily="34" charset="0"/>
              </a:rPr>
              <a:t>for</a:t>
            </a:r>
            <a:r>
              <a:rPr lang="de-DE" sz="1800" b="0" i="0" u="none" strike="noStrike" baseline="0" dirty="0">
                <a:solidFill>
                  <a:srgbClr val="000000"/>
                </a:solidFill>
                <a:latin typeface="Arial" panose="020B0604020202020204" pitchFamily="34" charset="0"/>
              </a:rPr>
              <a:t> Higher Education: A Guide </a:t>
            </a:r>
            <a:r>
              <a:rPr lang="de-DE" sz="1800" b="0" i="0" u="none" strike="noStrike" baseline="0" dirty="0" err="1">
                <a:solidFill>
                  <a:srgbClr val="000000"/>
                </a:solidFill>
                <a:latin typeface="Arial" panose="020B0604020202020204" pitchFamily="34" charset="0"/>
              </a:rPr>
              <a:t>for</a:t>
            </a:r>
            <a:r>
              <a:rPr lang="de-DE" sz="1800" b="0" i="0" u="none" strike="noStrike" baseline="0" dirty="0">
                <a:solidFill>
                  <a:srgbClr val="000000"/>
                </a:solidFill>
                <a:latin typeface="Arial" panose="020B0604020202020204" pitchFamily="34" charset="0"/>
              </a:rPr>
              <a:t> </a:t>
            </a:r>
            <a:r>
              <a:rPr lang="de-DE" sz="1800" b="0" i="0" u="none" strike="noStrike" baseline="0" dirty="0" err="1">
                <a:solidFill>
                  <a:srgbClr val="000000"/>
                </a:solidFill>
                <a:latin typeface="Arial" panose="020B0604020202020204" pitchFamily="34" charset="0"/>
              </a:rPr>
              <a:t>Students</a:t>
            </a:r>
            <a:r>
              <a:rPr lang="de-DE" sz="1800" b="0" i="0" u="none" strike="noStrike" baseline="0" dirty="0">
                <a:solidFill>
                  <a:srgbClr val="000000"/>
                </a:solidFill>
                <a:latin typeface="Arial" panose="020B0604020202020204" pitchFamily="34" charset="0"/>
              </a:rPr>
              <a:t> and </a:t>
            </a:r>
            <a:r>
              <a:rPr lang="de-DE" sz="1800" b="0" i="0" u="none" strike="noStrike" baseline="0" dirty="0" err="1">
                <a:solidFill>
                  <a:srgbClr val="000000"/>
                </a:solidFill>
                <a:latin typeface="Arial" panose="020B0604020202020204" pitchFamily="34" charset="0"/>
              </a:rPr>
              <a:t>Lecturers</a:t>
            </a:r>
            <a:r>
              <a:rPr lang="de-DE" sz="1800" b="0" i="0" u="none" strike="noStrike" baseline="0" dirty="0">
                <a:solidFill>
                  <a:srgbClr val="000000"/>
                </a:solidFill>
                <a:latin typeface="Arial" panose="020B0604020202020204" pitchFamily="34" charset="0"/>
              </a:rPr>
              <a:t>. University </a:t>
            </a:r>
            <a:r>
              <a:rPr lang="de-DE" sz="1800" b="0" i="0" u="none" strike="noStrike" baseline="0" dirty="0" err="1">
                <a:solidFill>
                  <a:srgbClr val="000000"/>
                </a:solidFill>
                <a:latin typeface="Arial" panose="020B0604020202020204" pitchFamily="34" charset="0"/>
              </a:rPr>
              <a:t>of</a:t>
            </a:r>
            <a:r>
              <a:rPr lang="de-DE" sz="1800" b="0" i="0" u="none" strike="noStrike" baseline="0" dirty="0">
                <a:solidFill>
                  <a:srgbClr val="000000"/>
                </a:solidFill>
                <a:latin typeface="Arial" panose="020B0604020202020204" pitchFamily="34" charset="0"/>
              </a:rPr>
              <a:t> Hohenheim, March 20, 2023. </a:t>
            </a:r>
            <a:endParaRPr lang="de-DE" dirty="0">
              <a:latin typeface="Trebuchet MS" panose="020B0603020202020204" pitchFamily="34" charset="0"/>
            </a:endParaRPr>
          </a:p>
          <a:p>
            <a:pPr marL="337193" marR="133989" indent="-325128" algn="just">
              <a:spcBef>
                <a:spcPts val="100"/>
              </a:spcBef>
              <a:buFont typeface="Wingdings"/>
              <a:buChar char=""/>
              <a:tabLst>
                <a:tab pos="337829" algn="l"/>
              </a:tabLst>
            </a:pPr>
            <a:endParaRPr lang="de-DE" spc="-5" dirty="0">
              <a:latin typeface="Trebuchet MS" panose="020B0603020202020204" pitchFamily="34" charset="0"/>
              <a:cs typeface="Trebuchet MS"/>
            </a:endParaRPr>
          </a:p>
        </p:txBody>
      </p:sp>
    </p:spTree>
    <p:extLst>
      <p:ext uri="{BB962C8B-B14F-4D97-AF65-F5344CB8AC3E}">
        <p14:creationId xmlns:p14="http://schemas.microsoft.com/office/powerpoint/2010/main" val="39290612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17247B-5306-4716-AA76-3671DF1C0E0D}"/>
              </a:ext>
            </a:extLst>
          </p:cNvPr>
          <p:cNvSpPr>
            <a:spLocks noGrp="1"/>
          </p:cNvSpPr>
          <p:nvPr>
            <p:ph type="title"/>
          </p:nvPr>
        </p:nvSpPr>
        <p:spPr>
          <a:xfrm>
            <a:off x="797956" y="434673"/>
            <a:ext cx="7962480" cy="574357"/>
          </a:xfrm>
        </p:spPr>
        <p:txBody>
          <a:bodyPr/>
          <a:lstStyle/>
          <a:p>
            <a:r>
              <a:rPr lang="en-US" dirty="0" err="1"/>
              <a:t>Künstliche</a:t>
            </a:r>
            <a:r>
              <a:rPr lang="en-US" dirty="0"/>
              <a:t> </a:t>
            </a:r>
            <a:r>
              <a:rPr lang="en-US" dirty="0" err="1"/>
              <a:t>intelligenz</a:t>
            </a:r>
            <a:r>
              <a:rPr lang="en-US" dirty="0"/>
              <a:t> (KI) </a:t>
            </a:r>
            <a:r>
              <a:rPr lang="en-US" dirty="0" err="1"/>
              <a:t>kann</a:t>
            </a:r>
            <a:r>
              <a:rPr lang="en-US" dirty="0"/>
              <a:t> </a:t>
            </a:r>
            <a:r>
              <a:rPr lang="en-US" dirty="0" err="1"/>
              <a:t>vieles</a:t>
            </a:r>
            <a:r>
              <a:rPr lang="en-US" dirty="0"/>
              <a:t>…</a:t>
            </a:r>
          </a:p>
        </p:txBody>
      </p:sp>
      <p:grpSp>
        <p:nvGrpSpPr>
          <p:cNvPr id="8" name="Gruppieren 7">
            <a:extLst>
              <a:ext uri="{FF2B5EF4-FFF2-40B4-BE49-F238E27FC236}">
                <a16:creationId xmlns:a16="http://schemas.microsoft.com/office/drawing/2014/main" id="{01181C8A-864D-4DD5-9AE2-623B7AE86104}"/>
              </a:ext>
            </a:extLst>
          </p:cNvPr>
          <p:cNvGrpSpPr/>
          <p:nvPr/>
        </p:nvGrpSpPr>
        <p:grpSpPr>
          <a:xfrm>
            <a:off x="2282392" y="3701850"/>
            <a:ext cx="1472162" cy="2163318"/>
            <a:chOff x="715657" y="3732166"/>
            <a:chExt cx="1635736" cy="2403688"/>
          </a:xfrm>
        </p:grpSpPr>
        <p:pic>
          <p:nvPicPr>
            <p:cNvPr id="4" name="Grafik 3" descr="Ein Bild, das suchend, Front, stehend, Mann enthält.&#10;&#10;Automatisch generierte Beschreibung">
              <a:extLst>
                <a:ext uri="{FF2B5EF4-FFF2-40B4-BE49-F238E27FC236}">
                  <a16:creationId xmlns:a16="http://schemas.microsoft.com/office/drawing/2014/main" id="{9CC4443D-6115-4F90-8255-47156649425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16915" y="3732166"/>
              <a:ext cx="1633810" cy="1634400"/>
            </a:xfrm>
            <a:prstGeom prst="ellipse">
              <a:avLst/>
            </a:prstGeom>
            <a:solidFill>
              <a:schemeClr val="bg1">
                <a:lumMod val="95000"/>
              </a:schemeClr>
            </a:solidFill>
            <a:ln>
              <a:noFill/>
            </a:ln>
            <a:effectLst>
              <a:outerShdw blurRad="38100" dist="12700" dir="5400000" algn="ctr" rotWithShape="0">
                <a:srgbClr val="000000">
                  <a:alpha val="30000"/>
                </a:srgbClr>
              </a:outerShdw>
            </a:effectLst>
          </p:spPr>
        </p:pic>
        <p:sp>
          <p:nvSpPr>
            <p:cNvPr id="44" name="Rechteck 43">
              <a:extLst>
                <a:ext uri="{FF2B5EF4-FFF2-40B4-BE49-F238E27FC236}">
                  <a16:creationId xmlns:a16="http://schemas.microsoft.com/office/drawing/2014/main" id="{E32B299C-F83D-4A2E-BBBB-3491E4D2CB95}"/>
                </a:ext>
              </a:extLst>
            </p:cNvPr>
            <p:cNvSpPr/>
            <p:nvPr/>
          </p:nvSpPr>
          <p:spPr>
            <a:xfrm>
              <a:off x="715657" y="5364916"/>
              <a:ext cx="1635736" cy="770938"/>
            </a:xfrm>
            <a:prstGeom prst="rect">
              <a:avLst/>
            </a:prstGeom>
          </p:spPr>
          <p:txBody>
            <a:bodyPr wrap="square">
              <a:spAutoFit/>
            </a:bodyPr>
            <a:lstStyle/>
            <a:p>
              <a:pPr algn="ctr" defTabSz="822960">
                <a:lnSpc>
                  <a:spcPct val="120000"/>
                </a:lnSpc>
                <a:spcAft>
                  <a:spcPts val="540"/>
                </a:spcAft>
                <a:defRPr/>
              </a:pPr>
              <a:r>
                <a:rPr lang="de-DE" sz="1260">
                  <a:solidFill>
                    <a:srgbClr val="000000"/>
                  </a:solidFill>
                  <a:latin typeface="Trebuchet MS"/>
                </a:rPr>
                <a:t>Entscheiden</a:t>
              </a:r>
            </a:p>
            <a:p>
              <a:pPr algn="ctr" defTabSz="822960">
                <a:spcAft>
                  <a:spcPts val="270"/>
                </a:spcAft>
                <a:defRPr/>
              </a:pPr>
              <a:r>
                <a:rPr lang="en-US" sz="990" err="1">
                  <a:solidFill>
                    <a:srgbClr val="004080"/>
                  </a:solidFill>
                  <a:latin typeface="Trebuchet MS"/>
                </a:rPr>
                <a:t>z.B.</a:t>
              </a:r>
              <a:r>
                <a:rPr lang="en-US" sz="990">
                  <a:solidFill>
                    <a:srgbClr val="004080"/>
                  </a:solidFill>
                  <a:latin typeface="Trebuchet MS"/>
                </a:rPr>
                <a:t> </a:t>
              </a:r>
              <a:r>
                <a:rPr lang="en-US" sz="990" err="1">
                  <a:solidFill>
                    <a:srgbClr val="004080"/>
                  </a:solidFill>
                  <a:latin typeface="Trebuchet MS"/>
                </a:rPr>
                <a:t>Krankheit</a:t>
              </a:r>
              <a:r>
                <a:rPr lang="en-US" sz="990">
                  <a:solidFill>
                    <a:srgbClr val="004080"/>
                  </a:solidFill>
                  <a:latin typeface="Trebuchet MS"/>
                </a:rPr>
                <a:t> </a:t>
              </a:r>
              <a:r>
                <a:rPr lang="en-US" sz="990" err="1">
                  <a:solidFill>
                    <a:srgbClr val="004080"/>
                  </a:solidFill>
                  <a:latin typeface="Trebuchet MS"/>
                </a:rPr>
                <a:t>diagnostizieren</a:t>
              </a:r>
              <a:endParaRPr lang="de-DE" sz="990">
                <a:solidFill>
                  <a:srgbClr val="004080"/>
                </a:solidFill>
                <a:latin typeface="Trebuchet MS"/>
              </a:endParaRPr>
            </a:p>
          </p:txBody>
        </p:sp>
      </p:grpSp>
      <p:grpSp>
        <p:nvGrpSpPr>
          <p:cNvPr id="9" name="Gruppieren 8">
            <a:extLst>
              <a:ext uri="{FF2B5EF4-FFF2-40B4-BE49-F238E27FC236}">
                <a16:creationId xmlns:a16="http://schemas.microsoft.com/office/drawing/2014/main" id="{BFF82D8A-102B-473C-98CE-06A92BB5A68A}"/>
              </a:ext>
            </a:extLst>
          </p:cNvPr>
          <p:cNvGrpSpPr/>
          <p:nvPr/>
        </p:nvGrpSpPr>
        <p:grpSpPr>
          <a:xfrm>
            <a:off x="4334076" y="3701851"/>
            <a:ext cx="1472162" cy="2163318"/>
            <a:chOff x="2995307" y="3732166"/>
            <a:chExt cx="1635736" cy="2403687"/>
          </a:xfrm>
        </p:grpSpPr>
        <p:pic>
          <p:nvPicPr>
            <p:cNvPr id="28674" name="Picture 2">
              <a:extLst>
                <a:ext uri="{FF2B5EF4-FFF2-40B4-BE49-F238E27FC236}">
                  <a16:creationId xmlns:a16="http://schemas.microsoft.com/office/drawing/2014/main" id="{67132D11-7DA5-4785-B198-63D5DFDE7CB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p:blipFill>
          <p:spPr bwMode="auto">
            <a:xfrm>
              <a:off x="2996198" y="3732166"/>
              <a:ext cx="1634400" cy="1634400"/>
            </a:xfrm>
            <a:prstGeom prst="ellipse">
              <a:avLst/>
            </a:prstGeom>
            <a:solidFill>
              <a:schemeClr val="bg1">
                <a:lumMod val="95000"/>
              </a:schemeClr>
            </a:solidFill>
            <a:ln>
              <a:noFill/>
            </a:ln>
            <a:effectLst>
              <a:outerShdw blurRad="38100" dist="12700" dir="5400000" algn="ctr" rotWithShape="0">
                <a:srgbClr val="000000">
                  <a:alpha val="30000"/>
                </a:srgbClr>
              </a:outerShdw>
            </a:effectLst>
          </p:spPr>
        </p:pic>
        <p:sp>
          <p:nvSpPr>
            <p:cNvPr id="54" name="Rechteck 53">
              <a:extLst>
                <a:ext uri="{FF2B5EF4-FFF2-40B4-BE49-F238E27FC236}">
                  <a16:creationId xmlns:a16="http://schemas.microsoft.com/office/drawing/2014/main" id="{616C2E7B-7992-4A57-9BB4-0CBE95B20CE0}"/>
                </a:ext>
              </a:extLst>
            </p:cNvPr>
            <p:cNvSpPr/>
            <p:nvPr/>
          </p:nvSpPr>
          <p:spPr>
            <a:xfrm>
              <a:off x="2995307" y="5364915"/>
              <a:ext cx="1635736" cy="770938"/>
            </a:xfrm>
            <a:prstGeom prst="rect">
              <a:avLst/>
            </a:prstGeom>
          </p:spPr>
          <p:txBody>
            <a:bodyPr wrap="square">
              <a:spAutoFit/>
            </a:bodyPr>
            <a:lstStyle/>
            <a:p>
              <a:pPr algn="ctr" defTabSz="822960">
                <a:lnSpc>
                  <a:spcPct val="120000"/>
                </a:lnSpc>
                <a:spcAft>
                  <a:spcPts val="540"/>
                </a:spcAft>
                <a:defRPr/>
              </a:pPr>
              <a:r>
                <a:rPr lang="de-DE" sz="1260">
                  <a:solidFill>
                    <a:srgbClr val="000000"/>
                  </a:solidFill>
                  <a:latin typeface="Trebuchet MS"/>
                </a:rPr>
                <a:t>Vorhersagen</a:t>
              </a:r>
            </a:p>
            <a:p>
              <a:pPr algn="ctr" defTabSz="822960">
                <a:spcAft>
                  <a:spcPts val="270"/>
                </a:spcAft>
                <a:defRPr/>
              </a:pPr>
              <a:r>
                <a:rPr lang="en-US" sz="990" err="1">
                  <a:solidFill>
                    <a:srgbClr val="004080"/>
                  </a:solidFill>
                  <a:latin typeface="Trebuchet MS"/>
                </a:rPr>
                <a:t>z.B.</a:t>
              </a:r>
              <a:r>
                <a:rPr lang="en-US" sz="990">
                  <a:solidFill>
                    <a:srgbClr val="004080"/>
                  </a:solidFill>
                  <a:latin typeface="Trebuchet MS"/>
                </a:rPr>
                <a:t> </a:t>
              </a:r>
              <a:r>
                <a:rPr lang="en-US" sz="990" err="1">
                  <a:solidFill>
                    <a:srgbClr val="004080"/>
                  </a:solidFill>
                  <a:latin typeface="Trebuchet MS"/>
                </a:rPr>
                <a:t>vorrausschauende</a:t>
              </a:r>
              <a:r>
                <a:rPr lang="en-US" sz="990">
                  <a:solidFill>
                    <a:srgbClr val="004080"/>
                  </a:solidFill>
                  <a:latin typeface="Trebuchet MS"/>
                </a:rPr>
                <a:t> </a:t>
              </a:r>
              <a:r>
                <a:rPr lang="en-US" sz="990" err="1">
                  <a:solidFill>
                    <a:srgbClr val="004080"/>
                  </a:solidFill>
                  <a:latin typeface="Trebuchet MS"/>
                </a:rPr>
                <a:t>Instandhaltung</a:t>
              </a:r>
              <a:endParaRPr lang="de-DE" sz="990">
                <a:solidFill>
                  <a:srgbClr val="004080"/>
                </a:solidFill>
                <a:latin typeface="Trebuchet MS"/>
              </a:endParaRPr>
            </a:p>
          </p:txBody>
        </p:sp>
      </p:grpSp>
      <p:grpSp>
        <p:nvGrpSpPr>
          <p:cNvPr id="10" name="Gruppieren 9">
            <a:extLst>
              <a:ext uri="{FF2B5EF4-FFF2-40B4-BE49-F238E27FC236}">
                <a16:creationId xmlns:a16="http://schemas.microsoft.com/office/drawing/2014/main" id="{7C254AE3-4EF2-4901-A346-4E6A01342878}"/>
              </a:ext>
            </a:extLst>
          </p:cNvPr>
          <p:cNvGrpSpPr/>
          <p:nvPr/>
        </p:nvGrpSpPr>
        <p:grpSpPr>
          <a:xfrm>
            <a:off x="8436315" y="3701850"/>
            <a:ext cx="1472162" cy="2163318"/>
            <a:chOff x="5274957" y="3732166"/>
            <a:chExt cx="1635736" cy="2403688"/>
          </a:xfrm>
        </p:grpSpPr>
        <p:pic>
          <p:nvPicPr>
            <p:cNvPr id="81" name="Grafik 80">
              <a:extLst>
                <a:ext uri="{FF2B5EF4-FFF2-40B4-BE49-F238E27FC236}">
                  <a16:creationId xmlns:a16="http://schemas.microsoft.com/office/drawing/2014/main" id="{F079E686-487C-4181-8281-2FD138C70DB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4"/>
            <a:stretch/>
          </p:blipFill>
          <p:spPr>
            <a:xfrm>
              <a:off x="5276071" y="3732166"/>
              <a:ext cx="1634400" cy="1634400"/>
            </a:xfrm>
            <a:prstGeom prst="ellipse">
              <a:avLst/>
            </a:prstGeom>
          </p:spPr>
        </p:pic>
        <p:sp>
          <p:nvSpPr>
            <p:cNvPr id="57" name="Rechteck 56">
              <a:extLst>
                <a:ext uri="{FF2B5EF4-FFF2-40B4-BE49-F238E27FC236}">
                  <a16:creationId xmlns:a16="http://schemas.microsoft.com/office/drawing/2014/main" id="{A4073393-0A9B-4537-80CF-F41F232EBB97}"/>
                </a:ext>
              </a:extLst>
            </p:cNvPr>
            <p:cNvSpPr/>
            <p:nvPr/>
          </p:nvSpPr>
          <p:spPr>
            <a:xfrm>
              <a:off x="5274957" y="5364916"/>
              <a:ext cx="1635736" cy="770938"/>
            </a:xfrm>
            <a:prstGeom prst="rect">
              <a:avLst/>
            </a:prstGeom>
          </p:spPr>
          <p:txBody>
            <a:bodyPr wrap="square">
              <a:spAutoFit/>
            </a:bodyPr>
            <a:lstStyle/>
            <a:p>
              <a:pPr algn="ctr" defTabSz="822960">
                <a:lnSpc>
                  <a:spcPct val="120000"/>
                </a:lnSpc>
                <a:spcAft>
                  <a:spcPts val="540"/>
                </a:spcAft>
                <a:defRPr/>
              </a:pPr>
              <a:r>
                <a:rPr lang="de-DE" sz="1260" b="1">
                  <a:solidFill>
                    <a:srgbClr val="000000"/>
                  </a:solidFill>
                  <a:latin typeface="Trebuchet MS"/>
                </a:rPr>
                <a:t>Generieren</a:t>
              </a:r>
            </a:p>
            <a:p>
              <a:pPr algn="ctr" defTabSz="822960">
                <a:spcAft>
                  <a:spcPts val="270"/>
                </a:spcAft>
                <a:defRPr/>
              </a:pPr>
              <a:r>
                <a:rPr lang="en-US" sz="990" err="1">
                  <a:solidFill>
                    <a:srgbClr val="004080"/>
                  </a:solidFill>
                  <a:latin typeface="Trebuchet MS"/>
                </a:rPr>
                <a:t>Zs.B</a:t>
              </a:r>
              <a:r>
                <a:rPr lang="en-US" sz="990">
                  <a:solidFill>
                    <a:srgbClr val="004080"/>
                  </a:solidFill>
                  <a:latin typeface="Trebuchet MS"/>
                </a:rPr>
                <a:t>. </a:t>
              </a:r>
              <a:r>
                <a:rPr lang="en-US" sz="990" err="1">
                  <a:solidFill>
                    <a:srgbClr val="004080"/>
                  </a:solidFill>
                  <a:latin typeface="Trebuchet MS"/>
                </a:rPr>
                <a:t>Bilder</a:t>
              </a:r>
              <a:r>
                <a:rPr lang="en-US" sz="990">
                  <a:solidFill>
                    <a:srgbClr val="004080"/>
                  </a:solidFill>
                  <a:latin typeface="Trebuchet MS"/>
                </a:rPr>
                <a:t> &amp; Text </a:t>
              </a:r>
              <a:r>
                <a:rPr lang="en-US" sz="990" err="1">
                  <a:solidFill>
                    <a:srgbClr val="004080"/>
                  </a:solidFill>
                  <a:latin typeface="Trebuchet MS"/>
                </a:rPr>
                <a:t>generieren</a:t>
              </a:r>
              <a:endParaRPr lang="de-DE" sz="990">
                <a:solidFill>
                  <a:srgbClr val="004080"/>
                </a:solidFill>
                <a:latin typeface="Trebuchet MS"/>
              </a:endParaRPr>
            </a:p>
          </p:txBody>
        </p:sp>
      </p:grpSp>
      <p:grpSp>
        <p:nvGrpSpPr>
          <p:cNvPr id="11" name="Gruppieren 10">
            <a:extLst>
              <a:ext uri="{FF2B5EF4-FFF2-40B4-BE49-F238E27FC236}">
                <a16:creationId xmlns:a16="http://schemas.microsoft.com/office/drawing/2014/main" id="{948FBF07-434F-484A-8C75-45F9DA38A00C}"/>
              </a:ext>
            </a:extLst>
          </p:cNvPr>
          <p:cNvGrpSpPr/>
          <p:nvPr/>
        </p:nvGrpSpPr>
        <p:grpSpPr>
          <a:xfrm>
            <a:off x="6385361" y="3701852"/>
            <a:ext cx="1472162" cy="2010970"/>
            <a:chOff x="7554607" y="3732166"/>
            <a:chExt cx="1635736" cy="2234412"/>
          </a:xfrm>
        </p:grpSpPr>
        <p:pic>
          <p:nvPicPr>
            <p:cNvPr id="75" name="Picture 8" descr="https://assets.wired.com/photos/w_600/wp-content/uploads/2016/05/alphago_2.jpg">
              <a:extLst>
                <a:ext uri="{FF2B5EF4-FFF2-40B4-BE49-F238E27FC236}">
                  <a16:creationId xmlns:a16="http://schemas.microsoft.com/office/drawing/2014/main" id="{8A2E445B-183B-48B9-B2A0-6A407CB46C84}"/>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b="-707"/>
            <a:stretch/>
          </p:blipFill>
          <p:spPr bwMode="auto">
            <a:xfrm>
              <a:off x="7555943" y="3732166"/>
              <a:ext cx="1634400" cy="1634400"/>
            </a:xfrm>
            <a:prstGeom prst="ellipse">
              <a:avLst/>
            </a:prstGeom>
            <a:solidFill>
              <a:schemeClr val="bg1">
                <a:lumMod val="95000"/>
              </a:schemeClr>
            </a:solidFill>
            <a:ln>
              <a:noFill/>
            </a:ln>
            <a:effectLst>
              <a:outerShdw blurRad="38100" dist="12700" dir="5400000" algn="ctr" rotWithShape="0">
                <a:srgbClr val="000000">
                  <a:alpha val="30000"/>
                </a:srgbClr>
              </a:outerShdw>
            </a:effectLst>
          </p:spPr>
        </p:pic>
        <p:sp>
          <p:nvSpPr>
            <p:cNvPr id="60" name="Rechteck 59">
              <a:extLst>
                <a:ext uri="{FF2B5EF4-FFF2-40B4-BE49-F238E27FC236}">
                  <a16:creationId xmlns:a16="http://schemas.microsoft.com/office/drawing/2014/main" id="{3A135396-1DEE-4F19-9CAE-298C4C252306}"/>
                </a:ext>
              </a:extLst>
            </p:cNvPr>
            <p:cNvSpPr/>
            <p:nvPr/>
          </p:nvSpPr>
          <p:spPr>
            <a:xfrm>
              <a:off x="7554607" y="5364917"/>
              <a:ext cx="1635736" cy="601661"/>
            </a:xfrm>
            <a:prstGeom prst="rect">
              <a:avLst/>
            </a:prstGeom>
          </p:spPr>
          <p:txBody>
            <a:bodyPr wrap="square">
              <a:spAutoFit/>
            </a:bodyPr>
            <a:lstStyle/>
            <a:p>
              <a:pPr algn="ctr" defTabSz="822960">
                <a:lnSpc>
                  <a:spcPct val="120000"/>
                </a:lnSpc>
                <a:spcAft>
                  <a:spcPts val="540"/>
                </a:spcAft>
                <a:defRPr/>
              </a:pPr>
              <a:r>
                <a:rPr lang="de-DE" sz="1260">
                  <a:solidFill>
                    <a:srgbClr val="000000"/>
                  </a:solidFill>
                  <a:latin typeface="Trebuchet MS"/>
                </a:rPr>
                <a:t>Handeln</a:t>
              </a:r>
            </a:p>
            <a:p>
              <a:pPr algn="ctr" defTabSz="822960">
                <a:spcAft>
                  <a:spcPts val="270"/>
                </a:spcAft>
                <a:defRPr/>
              </a:pPr>
              <a:r>
                <a:rPr lang="de-DE" sz="990">
                  <a:solidFill>
                    <a:srgbClr val="004080"/>
                  </a:solidFill>
                  <a:latin typeface="Trebuchet MS"/>
                </a:rPr>
                <a:t>z.B. Go spielen</a:t>
              </a:r>
            </a:p>
          </p:txBody>
        </p:sp>
      </p:grpSp>
      <p:grpSp>
        <p:nvGrpSpPr>
          <p:cNvPr id="89" name="Gruppieren 88">
            <a:extLst>
              <a:ext uri="{FF2B5EF4-FFF2-40B4-BE49-F238E27FC236}">
                <a16:creationId xmlns:a16="http://schemas.microsoft.com/office/drawing/2014/main" id="{2CE76411-CF72-4F67-9EF0-1BDF2BF43A75}"/>
              </a:ext>
            </a:extLst>
          </p:cNvPr>
          <p:cNvGrpSpPr/>
          <p:nvPr/>
        </p:nvGrpSpPr>
        <p:grpSpPr>
          <a:xfrm>
            <a:off x="3308236" y="1607770"/>
            <a:ext cx="5574330" cy="2318356"/>
            <a:chOff x="1855482" y="1405411"/>
            <a:chExt cx="6193700" cy="2575952"/>
          </a:xfrm>
        </p:grpSpPr>
        <p:pic>
          <p:nvPicPr>
            <p:cNvPr id="88" name="Grafik 87">
              <a:extLst>
                <a:ext uri="{FF2B5EF4-FFF2-40B4-BE49-F238E27FC236}">
                  <a16:creationId xmlns:a16="http://schemas.microsoft.com/office/drawing/2014/main" id="{4AB92B3C-11DF-4DE6-8ED6-CE5FAA53776F}"/>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6414782" y="1405411"/>
              <a:ext cx="1634400" cy="1634400"/>
            </a:xfrm>
            <a:prstGeom prst="ellipse">
              <a:avLst/>
            </a:prstGeom>
            <a:solidFill>
              <a:schemeClr val="bg1">
                <a:lumMod val="95000"/>
              </a:schemeClr>
            </a:solidFill>
            <a:ln>
              <a:noFill/>
            </a:ln>
            <a:effectLst>
              <a:outerShdw blurRad="38100" dist="12700" dir="5400000" algn="ctr" rotWithShape="0">
                <a:srgbClr val="000000">
                  <a:alpha val="30000"/>
                </a:srgbClr>
              </a:outerShdw>
            </a:effectLst>
          </p:spPr>
        </p:pic>
        <p:sp>
          <p:nvSpPr>
            <p:cNvPr id="64" name="Rechteck 63">
              <a:extLst>
                <a:ext uri="{FF2B5EF4-FFF2-40B4-BE49-F238E27FC236}">
                  <a16:creationId xmlns:a16="http://schemas.microsoft.com/office/drawing/2014/main" id="{EF82B7B7-235A-478C-826B-08D240FDF0A1}"/>
                </a:ext>
              </a:extLst>
            </p:cNvPr>
            <p:cNvSpPr/>
            <p:nvPr/>
          </p:nvSpPr>
          <p:spPr>
            <a:xfrm>
              <a:off x="1855482" y="3041147"/>
              <a:ext cx="1635736" cy="940216"/>
            </a:xfrm>
            <a:prstGeom prst="rect">
              <a:avLst/>
            </a:prstGeom>
          </p:spPr>
          <p:txBody>
            <a:bodyPr wrap="square">
              <a:spAutoFit/>
            </a:bodyPr>
            <a:lstStyle/>
            <a:p>
              <a:pPr algn="ctr" defTabSz="822960">
                <a:lnSpc>
                  <a:spcPct val="120000"/>
                </a:lnSpc>
                <a:spcAft>
                  <a:spcPts val="540"/>
                </a:spcAft>
                <a:defRPr/>
              </a:pPr>
              <a:r>
                <a:rPr lang="en-GB" sz="1260" err="1">
                  <a:solidFill>
                    <a:srgbClr val="000000"/>
                  </a:solidFill>
                  <a:latin typeface="Trebuchet MS"/>
                </a:rPr>
                <a:t>Erklären</a:t>
              </a:r>
              <a:endParaRPr lang="en-GB" sz="1260">
                <a:solidFill>
                  <a:srgbClr val="000000"/>
                </a:solidFill>
                <a:latin typeface="Trebuchet MS"/>
              </a:endParaRPr>
            </a:p>
            <a:p>
              <a:pPr algn="ctr" defTabSz="822960">
                <a:spcAft>
                  <a:spcPts val="270"/>
                </a:spcAft>
                <a:defRPr/>
              </a:pPr>
              <a:r>
                <a:rPr lang="en-US" sz="990" err="1">
                  <a:solidFill>
                    <a:srgbClr val="004080"/>
                  </a:solidFill>
                  <a:latin typeface="Trebuchet MS"/>
                </a:rPr>
                <a:t>z.B.</a:t>
              </a:r>
              <a:r>
                <a:rPr lang="en-US" sz="990">
                  <a:solidFill>
                    <a:srgbClr val="004080"/>
                  </a:solidFill>
                  <a:latin typeface="Trebuchet MS"/>
                </a:rPr>
                <a:t> </a:t>
              </a:r>
              <a:r>
                <a:rPr lang="en-US" sz="990" err="1">
                  <a:solidFill>
                    <a:srgbClr val="004080"/>
                  </a:solidFill>
                  <a:latin typeface="Trebuchet MS"/>
                </a:rPr>
                <a:t>komplexe</a:t>
              </a:r>
              <a:r>
                <a:rPr lang="en-US" sz="990">
                  <a:solidFill>
                    <a:srgbClr val="004080"/>
                  </a:solidFill>
                  <a:latin typeface="Trebuchet MS"/>
                </a:rPr>
                <a:t> </a:t>
              </a:r>
              <a:r>
                <a:rPr lang="en-US" sz="990" err="1">
                  <a:solidFill>
                    <a:srgbClr val="004080"/>
                  </a:solidFill>
                  <a:latin typeface="Trebuchet MS"/>
                </a:rPr>
                <a:t>Konzepte</a:t>
              </a:r>
              <a:r>
                <a:rPr lang="en-US" sz="990">
                  <a:solidFill>
                    <a:srgbClr val="004080"/>
                  </a:solidFill>
                  <a:latin typeface="Trebuchet MS"/>
                </a:rPr>
                <a:t> in </a:t>
              </a:r>
              <a:r>
                <a:rPr lang="en-US" sz="990" err="1">
                  <a:solidFill>
                    <a:srgbClr val="004080"/>
                  </a:solidFill>
                  <a:latin typeface="Trebuchet MS"/>
                </a:rPr>
                <a:t>einfachen</a:t>
              </a:r>
              <a:r>
                <a:rPr lang="en-US" sz="990">
                  <a:solidFill>
                    <a:srgbClr val="004080"/>
                  </a:solidFill>
                  <a:latin typeface="Trebuchet MS"/>
                </a:rPr>
                <a:t> </a:t>
              </a:r>
              <a:r>
                <a:rPr lang="en-US" sz="990" err="1">
                  <a:solidFill>
                    <a:srgbClr val="004080"/>
                  </a:solidFill>
                  <a:latin typeface="Trebuchet MS"/>
                </a:rPr>
                <a:t>Worten</a:t>
              </a:r>
              <a:endParaRPr lang="de-DE" sz="990">
                <a:solidFill>
                  <a:srgbClr val="004080"/>
                </a:solidFill>
                <a:latin typeface="Trebuchet MS"/>
              </a:endParaRPr>
            </a:p>
          </p:txBody>
        </p:sp>
      </p:grpSp>
      <p:grpSp>
        <p:nvGrpSpPr>
          <p:cNvPr id="76" name="Gruppieren 75">
            <a:extLst>
              <a:ext uri="{FF2B5EF4-FFF2-40B4-BE49-F238E27FC236}">
                <a16:creationId xmlns:a16="http://schemas.microsoft.com/office/drawing/2014/main" id="{361D81C4-8AF0-4C19-920D-DB09C638B7DC}"/>
              </a:ext>
            </a:extLst>
          </p:cNvPr>
          <p:cNvGrpSpPr/>
          <p:nvPr/>
        </p:nvGrpSpPr>
        <p:grpSpPr>
          <a:xfrm>
            <a:off x="5359919" y="1607770"/>
            <a:ext cx="1472162" cy="2166006"/>
            <a:chOff x="4135132" y="1405411"/>
            <a:chExt cx="1635736" cy="2406674"/>
          </a:xfrm>
        </p:grpSpPr>
        <p:pic>
          <p:nvPicPr>
            <p:cNvPr id="74" name="Grafik 73">
              <a:extLst>
                <a:ext uri="{FF2B5EF4-FFF2-40B4-BE49-F238E27FC236}">
                  <a16:creationId xmlns:a16="http://schemas.microsoft.com/office/drawing/2014/main" id="{CFB1A3E3-3EDF-4DFF-830B-7C283E338BF3}"/>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4136468" y="1405411"/>
              <a:ext cx="1634400" cy="1634400"/>
            </a:xfrm>
            <a:prstGeom prst="ellipse">
              <a:avLst/>
            </a:prstGeom>
            <a:solidFill>
              <a:schemeClr val="bg1">
                <a:lumMod val="95000"/>
              </a:schemeClr>
            </a:solidFill>
            <a:ln>
              <a:noFill/>
            </a:ln>
            <a:effectLst>
              <a:outerShdw blurRad="38100" dist="12700" dir="5400000" algn="ctr" rotWithShape="0">
                <a:srgbClr val="000000">
                  <a:alpha val="30000"/>
                </a:srgbClr>
              </a:outerShdw>
            </a:effectLst>
          </p:spPr>
        </p:pic>
        <p:sp>
          <p:nvSpPr>
            <p:cNvPr id="67" name="Rechteck 66">
              <a:extLst>
                <a:ext uri="{FF2B5EF4-FFF2-40B4-BE49-F238E27FC236}">
                  <a16:creationId xmlns:a16="http://schemas.microsoft.com/office/drawing/2014/main" id="{6F67E077-B03E-48CF-BCC5-00FF9C3A965F}"/>
                </a:ext>
              </a:extLst>
            </p:cNvPr>
            <p:cNvSpPr/>
            <p:nvPr/>
          </p:nvSpPr>
          <p:spPr>
            <a:xfrm>
              <a:off x="4135132" y="3041147"/>
              <a:ext cx="1635736" cy="770938"/>
            </a:xfrm>
            <a:prstGeom prst="rect">
              <a:avLst/>
            </a:prstGeom>
          </p:spPr>
          <p:txBody>
            <a:bodyPr wrap="square">
              <a:spAutoFit/>
            </a:bodyPr>
            <a:lstStyle/>
            <a:p>
              <a:pPr algn="ctr" defTabSz="822960">
                <a:lnSpc>
                  <a:spcPct val="120000"/>
                </a:lnSpc>
                <a:spcAft>
                  <a:spcPts val="540"/>
                </a:spcAft>
                <a:defRPr/>
              </a:pPr>
              <a:r>
                <a:rPr lang="de-DE" sz="1260">
                  <a:solidFill>
                    <a:srgbClr val="000000"/>
                  </a:solidFill>
                  <a:latin typeface="Trebuchet MS"/>
                </a:rPr>
                <a:t>Detektion</a:t>
              </a:r>
            </a:p>
            <a:p>
              <a:pPr algn="ctr" defTabSz="822960">
                <a:spcAft>
                  <a:spcPts val="270"/>
                </a:spcAft>
                <a:defRPr/>
              </a:pPr>
              <a:r>
                <a:rPr lang="en-US" sz="990" err="1">
                  <a:solidFill>
                    <a:srgbClr val="004080"/>
                  </a:solidFill>
                  <a:latin typeface="Trebuchet MS"/>
                </a:rPr>
                <a:t>z.B.</a:t>
              </a:r>
              <a:r>
                <a:rPr lang="en-US" sz="990">
                  <a:solidFill>
                    <a:srgbClr val="004080"/>
                  </a:solidFill>
                  <a:latin typeface="Trebuchet MS"/>
                </a:rPr>
                <a:t> </a:t>
              </a:r>
              <a:r>
                <a:rPr lang="en-US" sz="990" err="1">
                  <a:solidFill>
                    <a:srgbClr val="004080"/>
                  </a:solidFill>
                  <a:latin typeface="Trebuchet MS"/>
                </a:rPr>
                <a:t>Verkehrsschilder</a:t>
              </a:r>
              <a:r>
                <a:rPr lang="en-US" sz="990">
                  <a:solidFill>
                    <a:srgbClr val="004080"/>
                  </a:solidFill>
                  <a:latin typeface="Trebuchet MS"/>
                </a:rPr>
                <a:t> </a:t>
              </a:r>
              <a:r>
                <a:rPr lang="en-US" sz="990" err="1">
                  <a:solidFill>
                    <a:srgbClr val="004080"/>
                  </a:solidFill>
                  <a:latin typeface="Trebuchet MS"/>
                </a:rPr>
                <a:t>erkennen</a:t>
              </a:r>
              <a:endParaRPr lang="de-DE" sz="990">
                <a:solidFill>
                  <a:srgbClr val="004080"/>
                </a:solidFill>
                <a:latin typeface="Trebuchet MS"/>
              </a:endParaRPr>
            </a:p>
          </p:txBody>
        </p:sp>
      </p:grpSp>
      <p:sp>
        <p:nvSpPr>
          <p:cNvPr id="28" name="Rechteck 27">
            <a:extLst>
              <a:ext uri="{FF2B5EF4-FFF2-40B4-BE49-F238E27FC236}">
                <a16:creationId xmlns:a16="http://schemas.microsoft.com/office/drawing/2014/main" id="{FE71CC32-F988-4C56-82D2-D53CAF12EB5F}"/>
              </a:ext>
            </a:extLst>
          </p:cNvPr>
          <p:cNvSpPr/>
          <p:nvPr/>
        </p:nvSpPr>
        <p:spPr bwMode="auto">
          <a:xfrm>
            <a:off x="592355" y="6270863"/>
            <a:ext cx="8713248" cy="259229"/>
          </a:xfrm>
          <a:prstGeom prst="rect">
            <a:avLst/>
          </a:prstGeom>
          <a:noFill/>
          <a:ln w="12700" cap="flat" cmpd="sng" algn="ctr">
            <a:no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algn="r" defTabSz="901542">
              <a:defRPr/>
            </a:pPr>
            <a:r>
              <a:rPr lang="de-DE" sz="900" dirty="0" err="1">
                <a:solidFill>
                  <a:srgbClr val="889194"/>
                </a:solidFill>
                <a:latin typeface="Trebuchet MS"/>
                <a:cs typeface="Arial"/>
              </a:rPr>
              <a:t>Illustrations</a:t>
            </a:r>
            <a:r>
              <a:rPr lang="de-DE" sz="900" dirty="0">
                <a:solidFill>
                  <a:srgbClr val="889194"/>
                </a:solidFill>
                <a:latin typeface="Trebuchet MS"/>
                <a:cs typeface="Arial"/>
              </a:rPr>
              <a:t>: Duolingo, Campbell et al. (2019), </a:t>
            </a:r>
            <a:r>
              <a:rPr lang="de-DE" sz="900" dirty="0" err="1">
                <a:solidFill>
                  <a:srgbClr val="889194"/>
                </a:solidFill>
                <a:latin typeface="Trebuchet MS"/>
                <a:cs typeface="Arial"/>
              </a:rPr>
              <a:t>D‘haeseleer</a:t>
            </a:r>
            <a:r>
              <a:rPr lang="de-DE" sz="900" dirty="0">
                <a:solidFill>
                  <a:srgbClr val="889194"/>
                </a:solidFill>
                <a:latin typeface="Trebuchet MS"/>
                <a:cs typeface="Arial"/>
              </a:rPr>
              <a:t> (2005), Michael </a:t>
            </a:r>
            <a:r>
              <a:rPr lang="de-DE" sz="900" dirty="0" err="1">
                <a:solidFill>
                  <a:srgbClr val="889194"/>
                </a:solidFill>
                <a:latin typeface="Trebuchet MS"/>
                <a:cs typeface="Arial"/>
              </a:rPr>
              <a:t>Duxbury</a:t>
            </a:r>
            <a:r>
              <a:rPr lang="de-DE" sz="900" dirty="0">
                <a:solidFill>
                  <a:srgbClr val="889194"/>
                </a:solidFill>
                <a:latin typeface="Trebuchet MS"/>
                <a:cs typeface="Arial"/>
              </a:rPr>
              <a:t>, Elastic.co, </a:t>
            </a:r>
            <a:r>
              <a:rPr lang="de-DE" sz="900" dirty="0" err="1">
                <a:solidFill>
                  <a:srgbClr val="889194"/>
                </a:solidFill>
                <a:latin typeface="Trebuchet MS"/>
                <a:cs typeface="Arial"/>
              </a:rPr>
              <a:t>nextrembrandt</a:t>
            </a:r>
            <a:r>
              <a:rPr lang="de-DE" sz="900" dirty="0">
                <a:solidFill>
                  <a:srgbClr val="889194"/>
                </a:solidFill>
                <a:latin typeface="Trebuchet MS"/>
                <a:cs typeface="Arial"/>
              </a:rPr>
              <a:t>, </a:t>
            </a:r>
            <a:r>
              <a:rPr lang="de-DE" sz="900" dirty="0" err="1">
                <a:solidFill>
                  <a:srgbClr val="889194"/>
                </a:solidFill>
                <a:latin typeface="Trebuchet MS"/>
                <a:cs typeface="Arial"/>
              </a:rPr>
              <a:t>Midjourney</a:t>
            </a:r>
            <a:endParaRPr lang="de-DE" sz="900" dirty="0">
              <a:solidFill>
                <a:srgbClr val="889194"/>
              </a:solidFill>
              <a:latin typeface="Trebuchet MS"/>
              <a:cs typeface="Arial"/>
            </a:endParaRPr>
          </a:p>
        </p:txBody>
      </p:sp>
      <p:grpSp>
        <p:nvGrpSpPr>
          <p:cNvPr id="7" name="Gruppieren 6">
            <a:extLst>
              <a:ext uri="{FF2B5EF4-FFF2-40B4-BE49-F238E27FC236}">
                <a16:creationId xmlns:a16="http://schemas.microsoft.com/office/drawing/2014/main" id="{38316CE7-C913-460C-A1CA-7C947E565E7F}"/>
              </a:ext>
            </a:extLst>
          </p:cNvPr>
          <p:cNvGrpSpPr/>
          <p:nvPr/>
        </p:nvGrpSpPr>
        <p:grpSpPr>
          <a:xfrm>
            <a:off x="3308236" y="1607770"/>
            <a:ext cx="5575532" cy="2166006"/>
            <a:chOff x="1855482" y="1405411"/>
            <a:chExt cx="6195036" cy="2406674"/>
          </a:xfrm>
          <a:solidFill>
            <a:srgbClr val="F8F8F8"/>
          </a:solidFill>
        </p:grpSpPr>
        <p:pic>
          <p:nvPicPr>
            <p:cNvPr id="6" name="Grafik 5">
              <a:extLst>
                <a:ext uri="{FF2B5EF4-FFF2-40B4-BE49-F238E27FC236}">
                  <a16:creationId xmlns:a16="http://schemas.microsoft.com/office/drawing/2014/main" id="{88CAAC8B-3D41-4120-9FE5-65CB3CAA05BC}"/>
                </a:ext>
              </a:extLst>
            </p:cNvPr>
            <p:cNvPicPr>
              <a:picLocks noChangeAspect="1"/>
            </p:cNvPicPr>
            <p:nvPr/>
          </p:nvPicPr>
          <p:blipFill rotWithShape="1">
            <a:blip r:embed="rId9">
              <a:extLst>
                <a:ext uri="{28A0092B-C50C-407E-A947-70E740481C1C}">
                  <a14:useLocalDpi xmlns:a14="http://schemas.microsoft.com/office/drawing/2010/main" val="0"/>
                </a:ext>
              </a:extLst>
            </a:blip>
            <a:srcRect r="-82"/>
            <a:stretch/>
          </p:blipFill>
          <p:spPr>
            <a:xfrm>
              <a:off x="1855482" y="1405411"/>
              <a:ext cx="1634400" cy="1634400"/>
            </a:xfrm>
            <a:prstGeom prst="ellipse">
              <a:avLst/>
            </a:prstGeom>
            <a:grpFill/>
            <a:ln>
              <a:noFill/>
            </a:ln>
            <a:effectLst>
              <a:outerShdw blurRad="38100" dist="12700" dir="5400000" algn="ctr" rotWithShape="0">
                <a:srgbClr val="000000">
                  <a:alpha val="30000"/>
                </a:srgbClr>
              </a:outerShdw>
            </a:effectLst>
          </p:spPr>
        </p:pic>
        <p:sp>
          <p:nvSpPr>
            <p:cNvPr id="70" name="Rechteck 69">
              <a:extLst>
                <a:ext uri="{FF2B5EF4-FFF2-40B4-BE49-F238E27FC236}">
                  <a16:creationId xmlns:a16="http://schemas.microsoft.com/office/drawing/2014/main" id="{0AB1FD75-423C-40C1-93B8-10BD89E3DC64}"/>
                </a:ext>
              </a:extLst>
            </p:cNvPr>
            <p:cNvSpPr/>
            <p:nvPr/>
          </p:nvSpPr>
          <p:spPr>
            <a:xfrm>
              <a:off x="6414782" y="3041147"/>
              <a:ext cx="1635736" cy="770938"/>
            </a:xfrm>
            <a:prstGeom prst="rect">
              <a:avLst/>
            </a:prstGeom>
            <a:noFill/>
          </p:spPr>
          <p:txBody>
            <a:bodyPr wrap="square">
              <a:spAutoFit/>
            </a:bodyPr>
            <a:lstStyle/>
            <a:p>
              <a:pPr algn="ctr" defTabSz="822960">
                <a:lnSpc>
                  <a:spcPct val="120000"/>
                </a:lnSpc>
                <a:spcAft>
                  <a:spcPts val="540"/>
                </a:spcAft>
                <a:defRPr/>
              </a:pPr>
              <a:r>
                <a:rPr lang="de-DE" sz="1260">
                  <a:solidFill>
                    <a:srgbClr val="000000"/>
                  </a:solidFill>
                  <a:latin typeface="Trebuchet MS"/>
                </a:rPr>
                <a:t>Erkennung</a:t>
              </a:r>
            </a:p>
            <a:p>
              <a:pPr algn="ctr" defTabSz="822960">
                <a:spcAft>
                  <a:spcPts val="270"/>
                </a:spcAft>
                <a:defRPr/>
              </a:pPr>
              <a:r>
                <a:rPr lang="en-US" sz="990" err="1">
                  <a:solidFill>
                    <a:srgbClr val="004080"/>
                  </a:solidFill>
                  <a:latin typeface="Trebuchet MS"/>
                </a:rPr>
                <a:t>z.B.</a:t>
              </a:r>
              <a:r>
                <a:rPr lang="en-US" sz="990">
                  <a:solidFill>
                    <a:srgbClr val="004080"/>
                  </a:solidFill>
                  <a:latin typeface="Trebuchet MS"/>
                </a:rPr>
                <a:t> </a:t>
              </a:r>
              <a:r>
                <a:rPr lang="en-US" sz="990" err="1">
                  <a:solidFill>
                    <a:srgbClr val="004080"/>
                  </a:solidFill>
                  <a:latin typeface="Trebuchet MS"/>
                </a:rPr>
                <a:t>Nachtmodus</a:t>
              </a:r>
              <a:r>
                <a:rPr lang="en-US" sz="990">
                  <a:solidFill>
                    <a:srgbClr val="004080"/>
                  </a:solidFill>
                  <a:latin typeface="Trebuchet MS"/>
                </a:rPr>
                <a:t> von Smartphone </a:t>
              </a:r>
              <a:r>
                <a:rPr lang="en-US" sz="990" err="1">
                  <a:solidFill>
                    <a:srgbClr val="004080"/>
                  </a:solidFill>
                  <a:latin typeface="Trebuchet MS"/>
                </a:rPr>
                <a:t>Kameras</a:t>
              </a:r>
              <a:endParaRPr lang="de-DE" sz="990">
                <a:solidFill>
                  <a:srgbClr val="004080"/>
                </a:solidFill>
                <a:latin typeface="Trebuchet MS"/>
              </a:endParaRPr>
            </a:p>
          </p:txBody>
        </p:sp>
      </p:grpSp>
      <p:sp>
        <p:nvSpPr>
          <p:cNvPr id="3" name="Rechteck 2">
            <a:extLst>
              <a:ext uri="{FF2B5EF4-FFF2-40B4-BE49-F238E27FC236}">
                <a16:creationId xmlns:a16="http://schemas.microsoft.com/office/drawing/2014/main" id="{B755E644-DFDE-D3E2-A9C5-2568E0C4F465}"/>
              </a:ext>
            </a:extLst>
          </p:cNvPr>
          <p:cNvSpPr/>
          <p:nvPr/>
        </p:nvSpPr>
        <p:spPr>
          <a:xfrm>
            <a:off x="7697999" y="7070105"/>
            <a:ext cx="3748686" cy="76392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de-DE" sz="1620" err="1">
                <a:solidFill>
                  <a:srgbClr val="000000"/>
                </a:solidFill>
                <a:latin typeface="Trebuchet MS"/>
              </a:rPr>
              <a:t>Explaining</a:t>
            </a:r>
            <a:r>
              <a:rPr lang="de-DE" sz="1620">
                <a:solidFill>
                  <a:srgbClr val="000000"/>
                </a:solidFill>
                <a:latin typeface="Trebuchet MS"/>
              </a:rPr>
              <a:t> &amp; </a:t>
            </a:r>
            <a:r>
              <a:rPr lang="de-DE" sz="1620" err="1">
                <a:solidFill>
                  <a:srgbClr val="000000"/>
                </a:solidFill>
                <a:latin typeface="Trebuchet MS"/>
              </a:rPr>
              <a:t>Predicting</a:t>
            </a:r>
            <a:r>
              <a:rPr lang="de-DE" sz="1620">
                <a:solidFill>
                  <a:srgbClr val="000000"/>
                </a:solidFill>
                <a:latin typeface="Trebuchet MS"/>
              </a:rPr>
              <a:t> begeisternder</a:t>
            </a:r>
          </a:p>
        </p:txBody>
      </p:sp>
      <p:sp>
        <p:nvSpPr>
          <p:cNvPr id="5" name="Foliennummernplatzhalter 4">
            <a:extLst>
              <a:ext uri="{FF2B5EF4-FFF2-40B4-BE49-F238E27FC236}">
                <a16:creationId xmlns:a16="http://schemas.microsoft.com/office/drawing/2014/main" id="{85906EA9-C6EF-3B4D-21FA-E9B28F2A8467}"/>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16</a:t>
            </a:fld>
            <a:endParaRPr lang="en-US" sz="810">
              <a:solidFill>
                <a:srgbClr val="889194"/>
              </a:solidFill>
              <a:latin typeface="Trebuchet MS"/>
            </a:endParaRPr>
          </a:p>
        </p:txBody>
      </p:sp>
    </p:spTree>
    <p:extLst>
      <p:ext uri="{BB962C8B-B14F-4D97-AF65-F5344CB8AC3E}">
        <p14:creationId xmlns:p14="http://schemas.microsoft.com/office/powerpoint/2010/main" val="26073249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639731" y="344331"/>
          <a:ext cx="1429" cy="1429"/>
        </p:xfrm>
        <a:graphic>
          <a:graphicData uri="http://schemas.openxmlformats.org/presentationml/2006/ole">
            <mc:AlternateContent xmlns:mc="http://schemas.openxmlformats.org/markup-compatibility/2006">
              <mc:Choice xmlns:v="urn:schemas-microsoft-com:vml" Requires="v">
                <p:oleObj name="think-cell Folie" r:id="rId5" imgW="216" imgH="216" progId="TCLayout.ActiveDocument.1">
                  <p:embed/>
                </p:oleObj>
              </mc:Choice>
              <mc:Fallback>
                <p:oleObj name="think-cell Folie" r:id="rId5" imgW="216" imgH="216" progId="TCLayout.ActiveDocument.1">
                  <p:embed/>
                  <p:pic>
                    <p:nvPicPr>
                      <p:cNvPr id="8" name="Objekt 7" hidden="1"/>
                      <p:cNvPicPr/>
                      <p:nvPr/>
                    </p:nvPicPr>
                    <p:blipFill>
                      <a:blip r:embed="rId6"/>
                      <a:stretch>
                        <a:fillRect/>
                      </a:stretch>
                    </p:blipFill>
                    <p:spPr>
                      <a:xfrm>
                        <a:off x="1639731" y="344331"/>
                        <a:ext cx="1429" cy="1429"/>
                      </a:xfrm>
                      <a:prstGeom prst="rect">
                        <a:avLst/>
                      </a:prstGeom>
                    </p:spPr>
                  </p:pic>
                </p:oleObj>
              </mc:Fallback>
            </mc:AlternateContent>
          </a:graphicData>
        </a:graphic>
      </p:graphicFrame>
      <p:sp>
        <p:nvSpPr>
          <p:cNvPr id="7" name="Rechteck 6" hidden="1"/>
          <p:cNvSpPr/>
          <p:nvPr>
            <p:custDataLst>
              <p:tags r:id="rId2"/>
            </p:custDataLst>
          </p:nvPr>
        </p:nvSpPr>
        <p:spPr bwMode="auto">
          <a:xfrm>
            <a:off x="1638302" y="342902"/>
            <a:ext cx="142876" cy="142876"/>
          </a:xfrm>
          <a:prstGeom prst="rect">
            <a:avLst/>
          </a:prstGeom>
          <a:noFill/>
          <a:ln w="12700" cap="flat" cmpd="sng" algn="ctr">
            <a:solidFill>
              <a:srgbClr val="C0C0C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defTabSz="901542">
              <a:defRPr/>
            </a:pPr>
            <a:endParaRPr lang="en-US" sz="2160" b="1">
              <a:solidFill>
                <a:srgbClr val="000000"/>
              </a:solidFill>
              <a:latin typeface="Trebuchet MS"/>
              <a:sym typeface="Trebuchet MS" panose="020B0603020202020204" pitchFamily="34" charset="0"/>
            </a:endParaRPr>
          </a:p>
        </p:txBody>
      </p:sp>
      <p:sp>
        <p:nvSpPr>
          <p:cNvPr id="3" name="Titel 2"/>
          <p:cNvSpPr>
            <a:spLocks noGrp="1"/>
          </p:cNvSpPr>
          <p:nvPr>
            <p:ph type="title"/>
          </p:nvPr>
        </p:nvSpPr>
        <p:spPr/>
        <p:txBody>
          <a:bodyPr vert="horz"/>
          <a:lstStyle/>
          <a:p>
            <a:r>
              <a:rPr lang="en-US" err="1"/>
              <a:t>Warum</a:t>
            </a:r>
            <a:r>
              <a:rPr lang="en-US"/>
              <a:t> </a:t>
            </a:r>
            <a:r>
              <a:rPr lang="en-US" err="1"/>
              <a:t>ausgerechnet</a:t>
            </a:r>
            <a:r>
              <a:rPr lang="en-US"/>
              <a:t> </a:t>
            </a:r>
            <a:r>
              <a:rPr lang="en-US" err="1"/>
              <a:t>jetzt</a:t>
            </a:r>
            <a:r>
              <a:rPr lang="en-US"/>
              <a:t>?</a:t>
            </a:r>
            <a:br>
              <a:rPr lang="en-US"/>
            </a:br>
            <a:r>
              <a:rPr lang="en-US"/>
              <a:t>4 </a:t>
            </a:r>
            <a:r>
              <a:rPr lang="en-US" err="1"/>
              <a:t>Entwicklungen</a:t>
            </a:r>
            <a:r>
              <a:rPr lang="en-US"/>
              <a:t> </a:t>
            </a:r>
            <a:r>
              <a:rPr lang="en-US" err="1"/>
              <a:t>ermöglichen</a:t>
            </a:r>
            <a:r>
              <a:rPr lang="en-US"/>
              <a:t> die </a:t>
            </a:r>
            <a:r>
              <a:rPr lang="en-US" err="1"/>
              <a:t>Anwendung</a:t>
            </a:r>
            <a:r>
              <a:rPr lang="en-US"/>
              <a:t> von KI</a:t>
            </a:r>
          </a:p>
        </p:txBody>
      </p:sp>
      <p:sp>
        <p:nvSpPr>
          <p:cNvPr id="23" name="Inhaltsplatzhalter 22">
            <a:extLst>
              <a:ext uri="{FF2B5EF4-FFF2-40B4-BE49-F238E27FC236}">
                <a16:creationId xmlns:a16="http://schemas.microsoft.com/office/drawing/2014/main" id="{ADE073F7-FEB9-E3EF-9F24-8497805FAC31}"/>
              </a:ext>
            </a:extLst>
          </p:cNvPr>
          <p:cNvSpPr>
            <a:spLocks noGrp="1"/>
          </p:cNvSpPr>
          <p:nvPr>
            <p:ph sz="quarter" idx="17"/>
          </p:nvPr>
        </p:nvSpPr>
        <p:spPr/>
        <p:txBody>
          <a:bodyPr/>
          <a:lstStyle/>
          <a:p>
            <a:endParaRPr lang="en-US"/>
          </a:p>
        </p:txBody>
      </p:sp>
      <p:sp>
        <p:nvSpPr>
          <p:cNvPr id="40" name="Rectangle 2">
            <a:extLst>
              <a:ext uri="{FF2B5EF4-FFF2-40B4-BE49-F238E27FC236}">
                <a16:creationId xmlns:a16="http://schemas.microsoft.com/office/drawing/2014/main" id="{5CAF9D7A-33BF-498A-8B5A-65BE145F9198}"/>
              </a:ext>
            </a:extLst>
          </p:cNvPr>
          <p:cNvSpPr/>
          <p:nvPr/>
        </p:nvSpPr>
        <p:spPr>
          <a:xfrm>
            <a:off x="3992978" y="2312454"/>
            <a:ext cx="2008800" cy="3163346"/>
          </a:xfrm>
          <a:prstGeom prst="rect">
            <a:avLst/>
          </a:prstGeom>
          <a:solidFill>
            <a:schemeClr val="bg1">
              <a:lumMod val="95000"/>
            </a:schemeClr>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550800" rtlCol="0" anchor="t"/>
          <a:lstStyle/>
          <a:p>
            <a:pPr algn="ctr" defTabSz="822960">
              <a:spcAft>
                <a:spcPts val="540"/>
              </a:spcAft>
              <a:defRPr/>
            </a:pPr>
            <a:r>
              <a:rPr lang="en-US" sz="1440" b="1">
                <a:solidFill>
                  <a:srgbClr val="000000"/>
                </a:solidFill>
                <a:latin typeface="Trebuchet MS"/>
                <a:ea typeface="Roboto Light" charset="0"/>
                <a:cs typeface="Roboto Light" charset="0"/>
              </a:rPr>
              <a:t>Die </a:t>
            </a:r>
            <a:r>
              <a:rPr lang="en-US" sz="1440" b="1" err="1">
                <a:solidFill>
                  <a:srgbClr val="000000"/>
                </a:solidFill>
                <a:latin typeface="Trebuchet MS"/>
                <a:ea typeface="Roboto Light" charset="0"/>
                <a:cs typeface="Roboto Light" charset="0"/>
              </a:rPr>
              <a:t>Algorithmen</a:t>
            </a:r>
            <a:r>
              <a:rPr lang="en-US" sz="1440" b="1">
                <a:solidFill>
                  <a:srgbClr val="000000"/>
                </a:solidFill>
                <a:latin typeface="Trebuchet MS"/>
                <a:ea typeface="Roboto Light" charset="0"/>
                <a:cs typeface="Roboto Light" charset="0"/>
              </a:rPr>
              <a:t> für </a:t>
            </a:r>
            <a:r>
              <a:rPr lang="en-US" sz="1440" b="1" err="1">
                <a:solidFill>
                  <a:srgbClr val="000000"/>
                </a:solidFill>
                <a:latin typeface="Trebuchet MS"/>
                <a:ea typeface="Roboto Light" charset="0"/>
                <a:cs typeface="Roboto Light" charset="0"/>
              </a:rPr>
              <a:t>maschinelles</a:t>
            </a:r>
            <a:r>
              <a:rPr lang="en-US" sz="1440" b="1">
                <a:solidFill>
                  <a:srgbClr val="000000"/>
                </a:solidFill>
                <a:latin typeface="Trebuchet MS"/>
                <a:ea typeface="Roboto Light" charset="0"/>
                <a:cs typeface="Roboto Light" charset="0"/>
              </a:rPr>
              <a:t> </a:t>
            </a:r>
            <a:r>
              <a:rPr lang="en-US" sz="1440" b="1" err="1">
                <a:solidFill>
                  <a:srgbClr val="000000"/>
                </a:solidFill>
                <a:latin typeface="Trebuchet MS"/>
                <a:ea typeface="Roboto Light" charset="0"/>
                <a:cs typeface="Roboto Light" charset="0"/>
              </a:rPr>
              <a:t>Lernen</a:t>
            </a:r>
            <a:r>
              <a:rPr lang="en-US" sz="1440" b="1">
                <a:solidFill>
                  <a:srgbClr val="000000"/>
                </a:solidFill>
                <a:latin typeface="Trebuchet MS"/>
                <a:ea typeface="Roboto Light" charset="0"/>
                <a:cs typeface="Roboto Light" charset="0"/>
              </a:rPr>
              <a:t> </a:t>
            </a:r>
            <a:r>
              <a:rPr lang="en-US" sz="1440" b="1" err="1">
                <a:solidFill>
                  <a:srgbClr val="000000"/>
                </a:solidFill>
                <a:latin typeface="Trebuchet MS"/>
                <a:ea typeface="Roboto Light" charset="0"/>
                <a:cs typeface="Roboto Light" charset="0"/>
              </a:rPr>
              <a:t>wurden</a:t>
            </a:r>
            <a:r>
              <a:rPr lang="en-US" sz="1440" b="1">
                <a:solidFill>
                  <a:srgbClr val="000000"/>
                </a:solidFill>
                <a:latin typeface="Trebuchet MS"/>
                <a:ea typeface="Roboto Light" charset="0"/>
                <a:cs typeface="Roboto Light" charset="0"/>
              </a:rPr>
              <a:t> </a:t>
            </a:r>
            <a:r>
              <a:rPr lang="en-US" sz="1440" b="1" err="1">
                <a:solidFill>
                  <a:srgbClr val="000000"/>
                </a:solidFill>
                <a:latin typeface="Trebuchet MS"/>
                <a:ea typeface="Roboto Light" charset="0"/>
                <a:cs typeface="Roboto Light" charset="0"/>
              </a:rPr>
              <a:t>verbessert</a:t>
            </a:r>
            <a:endParaRPr lang="en-US" sz="1260">
              <a:solidFill>
                <a:srgbClr val="000000">
                  <a:lumMod val="50000"/>
                  <a:lumOff val="50000"/>
                </a:srgbClr>
              </a:solidFill>
              <a:latin typeface="Trebuchet MS"/>
            </a:endParaRPr>
          </a:p>
          <a:p>
            <a:pPr algn="ctr" defTabSz="822960">
              <a:spcAft>
                <a:spcPts val="540"/>
              </a:spcAft>
              <a:defRPr/>
            </a:pPr>
            <a:endParaRPr lang="en-US" sz="1260">
              <a:solidFill>
                <a:srgbClr val="000000">
                  <a:lumMod val="50000"/>
                  <a:lumOff val="50000"/>
                </a:srgbClr>
              </a:solidFill>
              <a:latin typeface="Trebuchet MS"/>
            </a:endParaRPr>
          </a:p>
          <a:p>
            <a:pPr algn="ctr" defTabSz="822960">
              <a:spcAft>
                <a:spcPts val="540"/>
              </a:spcAft>
              <a:defRPr/>
            </a:pPr>
            <a:r>
              <a:rPr lang="en-US" sz="1260">
                <a:solidFill>
                  <a:srgbClr val="000000">
                    <a:lumMod val="50000"/>
                    <a:lumOff val="50000"/>
                  </a:srgbClr>
                </a:solidFill>
                <a:latin typeface="Trebuchet MS"/>
              </a:rPr>
              <a:t>In den </a:t>
            </a:r>
            <a:r>
              <a:rPr lang="en-US" sz="1260" err="1">
                <a:solidFill>
                  <a:srgbClr val="000000">
                    <a:lumMod val="50000"/>
                    <a:lumOff val="50000"/>
                  </a:srgbClr>
                </a:solidFill>
                <a:latin typeface="Trebuchet MS"/>
              </a:rPr>
              <a:t>letzten</a:t>
            </a:r>
            <a:r>
              <a:rPr lang="en-US" sz="1260">
                <a:solidFill>
                  <a:srgbClr val="000000">
                    <a:lumMod val="50000"/>
                    <a:lumOff val="50000"/>
                  </a:srgbClr>
                </a:solidFill>
                <a:latin typeface="Trebuchet MS"/>
              </a:rPr>
              <a:t> Jahren </a:t>
            </a:r>
            <a:r>
              <a:rPr lang="en-US" sz="1260" err="1">
                <a:solidFill>
                  <a:srgbClr val="000000">
                    <a:lumMod val="50000"/>
                    <a:lumOff val="50000"/>
                  </a:srgbClr>
                </a:solidFill>
                <a:latin typeface="Trebuchet MS"/>
              </a:rPr>
              <a:t>wurden</a:t>
            </a:r>
            <a:r>
              <a:rPr lang="en-US" sz="1260">
                <a:solidFill>
                  <a:srgbClr val="000000">
                    <a:lumMod val="50000"/>
                    <a:lumOff val="50000"/>
                  </a:srgbClr>
                </a:solidFill>
                <a:latin typeface="Trebuchet MS"/>
              </a:rPr>
              <a:t> </a:t>
            </a:r>
            <a:r>
              <a:rPr lang="en-US" sz="1260" err="1">
                <a:solidFill>
                  <a:srgbClr val="000000">
                    <a:lumMod val="50000"/>
                    <a:lumOff val="50000"/>
                  </a:srgbClr>
                </a:solidFill>
                <a:latin typeface="Trebuchet MS"/>
              </a:rPr>
              <a:t>erhebliche</a:t>
            </a:r>
            <a:r>
              <a:rPr lang="en-US" sz="1260">
                <a:solidFill>
                  <a:srgbClr val="000000">
                    <a:lumMod val="50000"/>
                    <a:lumOff val="50000"/>
                  </a:srgbClr>
                </a:solidFill>
                <a:latin typeface="Trebuchet MS"/>
              </a:rPr>
              <a:t> </a:t>
            </a:r>
            <a:r>
              <a:rPr lang="en-US" sz="1260" err="1">
                <a:solidFill>
                  <a:srgbClr val="000000">
                    <a:lumMod val="50000"/>
                    <a:lumOff val="50000"/>
                  </a:srgbClr>
                </a:solidFill>
                <a:latin typeface="Trebuchet MS"/>
              </a:rPr>
              <a:t>Fortschritte</a:t>
            </a:r>
            <a:r>
              <a:rPr lang="en-US" sz="1260">
                <a:solidFill>
                  <a:srgbClr val="000000">
                    <a:lumMod val="50000"/>
                    <a:lumOff val="50000"/>
                  </a:srgbClr>
                </a:solidFill>
                <a:latin typeface="Trebuchet MS"/>
              </a:rPr>
              <a:t> </a:t>
            </a:r>
            <a:r>
              <a:rPr lang="en-US" sz="1260" err="1">
                <a:solidFill>
                  <a:srgbClr val="000000">
                    <a:lumMod val="50000"/>
                    <a:lumOff val="50000"/>
                  </a:srgbClr>
                </a:solidFill>
                <a:latin typeface="Trebuchet MS"/>
              </a:rPr>
              <a:t>erzielt</a:t>
            </a:r>
            <a:r>
              <a:rPr lang="en-US" sz="1260">
                <a:solidFill>
                  <a:srgbClr val="000000">
                    <a:lumMod val="50000"/>
                    <a:lumOff val="50000"/>
                  </a:srgbClr>
                </a:solidFill>
                <a:latin typeface="Trebuchet MS"/>
              </a:rPr>
              <a:t>, </a:t>
            </a:r>
            <a:r>
              <a:rPr lang="en-US" sz="1260" err="1">
                <a:solidFill>
                  <a:srgbClr val="000000">
                    <a:lumMod val="50000"/>
                    <a:lumOff val="50000"/>
                  </a:srgbClr>
                </a:solidFill>
                <a:latin typeface="Trebuchet MS"/>
              </a:rPr>
              <a:t>v.a.</a:t>
            </a:r>
            <a:r>
              <a:rPr lang="en-US" sz="1260">
                <a:solidFill>
                  <a:srgbClr val="000000">
                    <a:lumMod val="50000"/>
                    <a:lumOff val="50000"/>
                  </a:srgbClr>
                </a:solidFill>
                <a:latin typeface="Trebuchet MS"/>
              </a:rPr>
              <a:t> </a:t>
            </a:r>
            <a:r>
              <a:rPr lang="en-US" sz="1260" err="1">
                <a:solidFill>
                  <a:srgbClr val="000000">
                    <a:lumMod val="50000"/>
                    <a:lumOff val="50000"/>
                  </a:srgbClr>
                </a:solidFill>
                <a:latin typeface="Trebuchet MS"/>
              </a:rPr>
              <a:t>durch</a:t>
            </a:r>
            <a:r>
              <a:rPr lang="en-US" sz="1260">
                <a:solidFill>
                  <a:srgbClr val="000000">
                    <a:lumMod val="50000"/>
                    <a:lumOff val="50000"/>
                  </a:srgbClr>
                </a:solidFill>
                <a:latin typeface="Trebuchet MS"/>
              </a:rPr>
              <a:t> Deep-Learning-</a:t>
            </a:r>
            <a:r>
              <a:rPr lang="en-US" sz="1260" err="1">
                <a:solidFill>
                  <a:srgbClr val="000000">
                    <a:lumMod val="50000"/>
                    <a:lumOff val="50000"/>
                  </a:srgbClr>
                </a:solidFill>
                <a:latin typeface="Trebuchet MS"/>
              </a:rPr>
              <a:t>Algorithmen</a:t>
            </a:r>
            <a:endParaRPr lang="en-US" sz="1440" b="1">
              <a:solidFill>
                <a:srgbClr val="000000"/>
              </a:solidFill>
              <a:latin typeface="Trebuchet MS"/>
              <a:ea typeface="Roboto Light" charset="0"/>
              <a:cs typeface="Roboto Light" charset="0"/>
            </a:endParaRPr>
          </a:p>
        </p:txBody>
      </p:sp>
      <p:sp>
        <p:nvSpPr>
          <p:cNvPr id="13" name="Rectangle 2">
            <a:extLst>
              <a:ext uri="{FF2B5EF4-FFF2-40B4-BE49-F238E27FC236}">
                <a16:creationId xmlns:a16="http://schemas.microsoft.com/office/drawing/2014/main" id="{5CAF9D7A-33BF-498A-8B5A-65BE145F9198}"/>
              </a:ext>
            </a:extLst>
          </p:cNvPr>
          <p:cNvSpPr/>
          <p:nvPr/>
        </p:nvSpPr>
        <p:spPr>
          <a:xfrm>
            <a:off x="1789642" y="2312454"/>
            <a:ext cx="2008800" cy="3163346"/>
          </a:xfrm>
          <a:prstGeom prst="rect">
            <a:avLst/>
          </a:prstGeom>
          <a:solidFill>
            <a:schemeClr val="bg1">
              <a:lumMod val="95000"/>
            </a:schemeClr>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81000" tIns="550800" rIns="81000" rtlCol="0" anchor="t"/>
          <a:lstStyle/>
          <a:p>
            <a:pPr algn="ctr" defTabSz="822960">
              <a:lnSpc>
                <a:spcPct val="120000"/>
              </a:lnSpc>
              <a:defRPr/>
            </a:pPr>
            <a:r>
              <a:rPr lang="en-US" sz="1440" b="1" err="1">
                <a:solidFill>
                  <a:srgbClr val="000000"/>
                </a:solidFill>
                <a:latin typeface="Trebuchet MS"/>
              </a:rPr>
              <a:t>Erforderliche</a:t>
            </a:r>
            <a:r>
              <a:rPr lang="en-US" sz="1440" b="1">
                <a:solidFill>
                  <a:srgbClr val="000000"/>
                </a:solidFill>
                <a:latin typeface="Trebuchet MS"/>
              </a:rPr>
              <a:t> </a:t>
            </a:r>
            <a:r>
              <a:rPr lang="en-US" sz="1440" b="1" err="1">
                <a:solidFill>
                  <a:srgbClr val="000000"/>
                </a:solidFill>
                <a:latin typeface="Trebuchet MS"/>
              </a:rPr>
              <a:t>Daten</a:t>
            </a:r>
            <a:r>
              <a:rPr lang="en-US" sz="1440" b="1">
                <a:solidFill>
                  <a:srgbClr val="000000"/>
                </a:solidFill>
                <a:latin typeface="Trebuchet MS"/>
              </a:rPr>
              <a:t> </a:t>
            </a:r>
            <a:r>
              <a:rPr lang="en-US" sz="1440" b="1" err="1">
                <a:solidFill>
                  <a:srgbClr val="000000"/>
                </a:solidFill>
                <a:latin typeface="Trebuchet MS"/>
              </a:rPr>
              <a:t>sind</a:t>
            </a:r>
            <a:r>
              <a:rPr lang="en-US" sz="1440" b="1">
                <a:solidFill>
                  <a:srgbClr val="000000"/>
                </a:solidFill>
                <a:latin typeface="Trebuchet MS"/>
              </a:rPr>
              <a:t> </a:t>
            </a:r>
            <a:r>
              <a:rPr lang="en-US" sz="1440" b="1" err="1">
                <a:solidFill>
                  <a:srgbClr val="000000"/>
                </a:solidFill>
                <a:latin typeface="Trebuchet MS"/>
              </a:rPr>
              <a:t>verfügbar</a:t>
            </a:r>
            <a:r>
              <a:rPr lang="en-US" sz="1440" b="1">
                <a:solidFill>
                  <a:srgbClr val="000000"/>
                </a:solidFill>
                <a:latin typeface="Trebuchet MS"/>
              </a:rPr>
              <a:t> und </a:t>
            </a:r>
            <a:r>
              <a:rPr lang="en-US" sz="1440" b="1" err="1">
                <a:solidFill>
                  <a:srgbClr val="000000"/>
                </a:solidFill>
                <a:latin typeface="Trebuchet MS"/>
              </a:rPr>
              <a:t>nutzbar</a:t>
            </a:r>
            <a:endParaRPr lang="en-US" sz="1440" b="1">
              <a:solidFill>
                <a:srgbClr val="000000"/>
              </a:solidFill>
              <a:latin typeface="Trebuchet MS"/>
            </a:endParaRPr>
          </a:p>
          <a:p>
            <a:pPr algn="ctr" defTabSz="822960">
              <a:lnSpc>
                <a:spcPct val="120000"/>
              </a:lnSpc>
              <a:defRPr/>
            </a:pPr>
            <a:endParaRPr lang="en-US" sz="1440" b="1">
              <a:solidFill>
                <a:srgbClr val="000000"/>
              </a:solidFill>
              <a:latin typeface="Trebuchet MS"/>
            </a:endParaRPr>
          </a:p>
          <a:p>
            <a:pPr algn="ctr" defTabSz="822960">
              <a:lnSpc>
                <a:spcPct val="120000"/>
              </a:lnSpc>
              <a:defRPr/>
            </a:pPr>
            <a:r>
              <a:rPr lang="en-US" sz="1260">
                <a:solidFill>
                  <a:srgbClr val="000000">
                    <a:lumMod val="50000"/>
                    <a:lumOff val="50000"/>
                  </a:srgbClr>
                </a:solidFill>
                <a:latin typeface="Trebuchet MS"/>
                <a:ea typeface="Roboto Light" charset="0"/>
                <a:cs typeface="Roboto Light" charset="0"/>
              </a:rPr>
              <a:t>Die </a:t>
            </a:r>
            <a:r>
              <a:rPr lang="en-US" sz="1260" err="1">
                <a:solidFill>
                  <a:srgbClr val="000000">
                    <a:lumMod val="50000"/>
                    <a:lumOff val="50000"/>
                  </a:srgbClr>
                </a:solidFill>
                <a:latin typeface="Trebuchet MS"/>
                <a:ea typeface="Roboto Light" charset="0"/>
                <a:cs typeface="Roboto Light" charset="0"/>
              </a:rPr>
              <a:t>Digitalisierung</a:t>
            </a:r>
            <a:r>
              <a:rPr lang="en-US" sz="1260">
                <a:solidFill>
                  <a:srgbClr val="000000">
                    <a:lumMod val="50000"/>
                    <a:lumOff val="50000"/>
                  </a:srgbClr>
                </a:solidFill>
                <a:latin typeface="Trebuchet MS"/>
                <a:ea typeface="Roboto Light" charset="0"/>
                <a:cs typeface="Roboto Light" charset="0"/>
              </a:rPr>
              <a:t> </a:t>
            </a:r>
            <a:r>
              <a:rPr lang="en-US" sz="1260" err="1">
                <a:solidFill>
                  <a:srgbClr val="000000">
                    <a:lumMod val="50000"/>
                    <a:lumOff val="50000"/>
                  </a:srgbClr>
                </a:solidFill>
                <a:latin typeface="Trebuchet MS"/>
                <a:ea typeface="Roboto Light" charset="0"/>
                <a:cs typeface="Roboto Light" charset="0"/>
              </a:rPr>
              <a:t>schafft</a:t>
            </a:r>
            <a:r>
              <a:rPr lang="en-US" sz="1260">
                <a:solidFill>
                  <a:srgbClr val="000000">
                    <a:lumMod val="50000"/>
                    <a:lumOff val="50000"/>
                  </a:srgbClr>
                </a:solidFill>
                <a:latin typeface="Trebuchet MS"/>
                <a:ea typeface="Roboto Light" charset="0"/>
                <a:cs typeface="Roboto Light" charset="0"/>
              </a:rPr>
              <a:t> </a:t>
            </a:r>
            <a:r>
              <a:rPr lang="en-US" sz="1260" err="1">
                <a:solidFill>
                  <a:srgbClr val="000000">
                    <a:lumMod val="50000"/>
                    <a:lumOff val="50000"/>
                  </a:srgbClr>
                </a:solidFill>
                <a:latin typeface="Trebuchet MS"/>
                <a:ea typeface="Roboto Light" charset="0"/>
                <a:cs typeface="Roboto Light" charset="0"/>
              </a:rPr>
              <a:t>Daten</a:t>
            </a:r>
            <a:r>
              <a:rPr lang="en-US" sz="1260">
                <a:solidFill>
                  <a:srgbClr val="000000">
                    <a:lumMod val="50000"/>
                    <a:lumOff val="50000"/>
                  </a:srgbClr>
                </a:solidFill>
                <a:latin typeface="Trebuchet MS"/>
                <a:ea typeface="Roboto Light" charset="0"/>
                <a:cs typeface="Roboto Light" charset="0"/>
              </a:rPr>
              <a:t>, die </a:t>
            </a:r>
            <a:r>
              <a:rPr lang="en-US" sz="1260" err="1">
                <a:solidFill>
                  <a:srgbClr val="000000">
                    <a:lumMod val="50000"/>
                    <a:lumOff val="50000"/>
                  </a:srgbClr>
                </a:solidFill>
                <a:latin typeface="Trebuchet MS"/>
                <a:ea typeface="Roboto Light" charset="0"/>
                <a:cs typeface="Roboto Light" charset="0"/>
              </a:rPr>
              <a:t>durch</a:t>
            </a:r>
            <a:r>
              <a:rPr lang="en-US" sz="1260">
                <a:solidFill>
                  <a:srgbClr val="000000">
                    <a:lumMod val="50000"/>
                    <a:lumOff val="50000"/>
                  </a:srgbClr>
                </a:solidFill>
                <a:latin typeface="Trebuchet MS"/>
                <a:ea typeface="Roboto Light" charset="0"/>
                <a:cs typeface="Roboto Light" charset="0"/>
              </a:rPr>
              <a:t> Big-Data-</a:t>
            </a:r>
            <a:r>
              <a:rPr lang="en-US" sz="1260" err="1">
                <a:solidFill>
                  <a:srgbClr val="000000">
                    <a:lumMod val="50000"/>
                    <a:lumOff val="50000"/>
                  </a:srgbClr>
                </a:solidFill>
                <a:latin typeface="Trebuchet MS"/>
                <a:ea typeface="Roboto Light" charset="0"/>
                <a:cs typeface="Roboto Light" charset="0"/>
              </a:rPr>
              <a:t>Technologien</a:t>
            </a:r>
            <a:r>
              <a:rPr lang="en-US" sz="1260">
                <a:solidFill>
                  <a:srgbClr val="000000">
                    <a:lumMod val="50000"/>
                    <a:lumOff val="50000"/>
                  </a:srgbClr>
                </a:solidFill>
                <a:latin typeface="Trebuchet MS"/>
                <a:ea typeface="Roboto Light" charset="0"/>
                <a:cs typeface="Roboto Light" charset="0"/>
              </a:rPr>
              <a:t> für KI-</a:t>
            </a:r>
            <a:r>
              <a:rPr lang="en-US" sz="1260" err="1">
                <a:solidFill>
                  <a:srgbClr val="000000">
                    <a:lumMod val="50000"/>
                    <a:lumOff val="50000"/>
                  </a:srgbClr>
                </a:solidFill>
                <a:latin typeface="Trebuchet MS"/>
                <a:ea typeface="Roboto Light" charset="0"/>
                <a:cs typeface="Roboto Light" charset="0"/>
              </a:rPr>
              <a:t>Anwendungen</a:t>
            </a:r>
            <a:r>
              <a:rPr lang="en-US" sz="1260">
                <a:solidFill>
                  <a:srgbClr val="000000">
                    <a:lumMod val="50000"/>
                    <a:lumOff val="50000"/>
                  </a:srgbClr>
                </a:solidFill>
                <a:latin typeface="Trebuchet MS"/>
                <a:ea typeface="Roboto Light" charset="0"/>
                <a:cs typeface="Roboto Light" charset="0"/>
              </a:rPr>
              <a:t> </a:t>
            </a:r>
            <a:r>
              <a:rPr lang="en-US" sz="1260" err="1">
                <a:solidFill>
                  <a:srgbClr val="000000">
                    <a:lumMod val="50000"/>
                    <a:lumOff val="50000"/>
                  </a:srgbClr>
                </a:solidFill>
                <a:latin typeface="Trebuchet MS"/>
                <a:ea typeface="Roboto Light" charset="0"/>
                <a:cs typeface="Roboto Light" charset="0"/>
              </a:rPr>
              <a:t>genutzt</a:t>
            </a:r>
            <a:r>
              <a:rPr lang="en-US" sz="1260">
                <a:solidFill>
                  <a:srgbClr val="000000">
                    <a:lumMod val="50000"/>
                    <a:lumOff val="50000"/>
                  </a:srgbClr>
                </a:solidFill>
                <a:latin typeface="Trebuchet MS"/>
                <a:ea typeface="Roboto Light" charset="0"/>
                <a:cs typeface="Roboto Light" charset="0"/>
              </a:rPr>
              <a:t> </a:t>
            </a:r>
            <a:r>
              <a:rPr lang="en-US" sz="1260" err="1">
                <a:solidFill>
                  <a:srgbClr val="000000">
                    <a:lumMod val="50000"/>
                    <a:lumOff val="50000"/>
                  </a:srgbClr>
                </a:solidFill>
                <a:latin typeface="Trebuchet MS"/>
                <a:ea typeface="Roboto Light" charset="0"/>
                <a:cs typeface="Roboto Light" charset="0"/>
              </a:rPr>
              <a:t>werden</a:t>
            </a:r>
            <a:r>
              <a:rPr lang="en-US" sz="1260">
                <a:solidFill>
                  <a:srgbClr val="000000">
                    <a:lumMod val="50000"/>
                    <a:lumOff val="50000"/>
                  </a:srgbClr>
                </a:solidFill>
                <a:latin typeface="Trebuchet MS"/>
                <a:ea typeface="Roboto Light" charset="0"/>
                <a:cs typeface="Roboto Light" charset="0"/>
              </a:rPr>
              <a:t> </a:t>
            </a:r>
            <a:r>
              <a:rPr lang="en-US" sz="1260" err="1">
                <a:solidFill>
                  <a:srgbClr val="000000">
                    <a:lumMod val="50000"/>
                    <a:lumOff val="50000"/>
                  </a:srgbClr>
                </a:solidFill>
                <a:latin typeface="Trebuchet MS"/>
                <a:ea typeface="Roboto Light" charset="0"/>
                <a:cs typeface="Roboto Light" charset="0"/>
              </a:rPr>
              <a:t>können</a:t>
            </a:r>
            <a:endParaRPr lang="en-US" sz="1260">
              <a:solidFill>
                <a:srgbClr val="000000">
                  <a:lumMod val="50000"/>
                  <a:lumOff val="50000"/>
                </a:srgbClr>
              </a:solidFill>
              <a:latin typeface="Trebuchet MS"/>
              <a:ea typeface="Roboto Light" charset="0"/>
              <a:cs typeface="Roboto Light" charset="0"/>
            </a:endParaRPr>
          </a:p>
        </p:txBody>
      </p:sp>
      <p:sp>
        <p:nvSpPr>
          <p:cNvPr id="37" name="Rectangle 2">
            <a:extLst>
              <a:ext uri="{FF2B5EF4-FFF2-40B4-BE49-F238E27FC236}">
                <a16:creationId xmlns:a16="http://schemas.microsoft.com/office/drawing/2014/main" id="{5CAF9D7A-33BF-498A-8B5A-65BE145F9198}"/>
              </a:ext>
            </a:extLst>
          </p:cNvPr>
          <p:cNvSpPr/>
          <p:nvPr/>
        </p:nvSpPr>
        <p:spPr>
          <a:xfrm>
            <a:off x="8399651" y="2312454"/>
            <a:ext cx="2008800" cy="3163346"/>
          </a:xfrm>
          <a:prstGeom prst="rect">
            <a:avLst/>
          </a:prstGeom>
          <a:solidFill>
            <a:schemeClr val="bg1">
              <a:lumMod val="95000"/>
            </a:schemeClr>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550800" rtlCol="0" anchor="t"/>
          <a:lstStyle/>
          <a:p>
            <a:pPr algn="ctr" defTabSz="822960">
              <a:spcBef>
                <a:spcPts val="1620"/>
              </a:spcBef>
              <a:spcAft>
                <a:spcPts val="540"/>
              </a:spcAft>
              <a:defRPr/>
            </a:pPr>
            <a:r>
              <a:rPr lang="en-US" sz="1440" b="1" dirty="0">
                <a:solidFill>
                  <a:srgbClr val="000000"/>
                </a:solidFill>
                <a:latin typeface="Trebuchet MS"/>
                <a:ea typeface="Roboto Light" charset="0"/>
                <a:cs typeface="Roboto Light" charset="0"/>
              </a:rPr>
              <a:t>Die </a:t>
            </a:r>
            <a:r>
              <a:rPr lang="en-US" sz="1440" b="1" dirty="0" err="1">
                <a:solidFill>
                  <a:srgbClr val="000000"/>
                </a:solidFill>
                <a:latin typeface="Trebuchet MS"/>
                <a:ea typeface="Roboto Light" charset="0"/>
                <a:cs typeface="Roboto Light" charset="0"/>
              </a:rPr>
              <a:t>Anwendung</a:t>
            </a:r>
            <a:r>
              <a:rPr lang="en-US" sz="1440" b="1" dirty="0">
                <a:solidFill>
                  <a:srgbClr val="000000"/>
                </a:solidFill>
                <a:latin typeface="Trebuchet MS"/>
                <a:ea typeface="Roboto Light" charset="0"/>
                <a:cs typeface="Roboto Light" charset="0"/>
              </a:rPr>
              <a:t> von KI </a:t>
            </a:r>
            <a:r>
              <a:rPr lang="en-US" sz="1440" b="1" dirty="0" err="1">
                <a:solidFill>
                  <a:srgbClr val="000000"/>
                </a:solidFill>
                <a:latin typeface="Trebuchet MS"/>
                <a:ea typeface="Roboto Light" charset="0"/>
                <a:cs typeface="Roboto Light" charset="0"/>
              </a:rPr>
              <a:t>ist</a:t>
            </a:r>
            <a:r>
              <a:rPr lang="en-US" sz="1440" b="1" dirty="0">
                <a:solidFill>
                  <a:srgbClr val="000000"/>
                </a:solidFill>
                <a:latin typeface="Trebuchet MS"/>
                <a:ea typeface="Roboto Light" charset="0"/>
                <a:cs typeface="Roboto Light" charset="0"/>
              </a:rPr>
              <a:t> </a:t>
            </a:r>
            <a:r>
              <a:rPr lang="en-US" sz="1440" b="1" dirty="0" err="1">
                <a:solidFill>
                  <a:srgbClr val="000000"/>
                </a:solidFill>
                <a:latin typeface="Trebuchet MS"/>
                <a:ea typeface="Roboto Light" charset="0"/>
                <a:cs typeface="Roboto Light" charset="0"/>
              </a:rPr>
              <a:t>keine</a:t>
            </a:r>
            <a:r>
              <a:rPr lang="en-US" sz="1440" b="1" dirty="0">
                <a:solidFill>
                  <a:srgbClr val="000000"/>
                </a:solidFill>
                <a:latin typeface="Trebuchet MS"/>
                <a:ea typeface="Roboto Light" charset="0"/>
                <a:cs typeface="Roboto Light" charset="0"/>
              </a:rPr>
              <a:t> </a:t>
            </a:r>
            <a:r>
              <a:rPr lang="en-US" sz="1440" b="1" dirty="0" err="1">
                <a:solidFill>
                  <a:srgbClr val="000000"/>
                </a:solidFill>
                <a:latin typeface="Trebuchet MS"/>
                <a:ea typeface="Roboto Light" charset="0"/>
                <a:cs typeface="Roboto Light" charset="0"/>
              </a:rPr>
              <a:t>Raketenwissenschaft</a:t>
            </a:r>
            <a:endParaRPr lang="en-US" sz="1440" b="1" dirty="0">
              <a:solidFill>
                <a:srgbClr val="000000"/>
              </a:solidFill>
              <a:latin typeface="Trebuchet MS"/>
              <a:ea typeface="Roboto Light" charset="0"/>
              <a:cs typeface="Roboto Light" charset="0"/>
            </a:endParaRPr>
          </a:p>
          <a:p>
            <a:pPr algn="ctr" defTabSz="822960">
              <a:spcBef>
                <a:spcPts val="1620"/>
              </a:spcBef>
              <a:spcAft>
                <a:spcPts val="540"/>
              </a:spcAft>
              <a:defRPr/>
            </a:pPr>
            <a:r>
              <a:rPr lang="en-US" sz="1260" dirty="0" err="1">
                <a:solidFill>
                  <a:srgbClr val="000000">
                    <a:lumMod val="50000"/>
                    <a:lumOff val="50000"/>
                  </a:srgbClr>
                </a:solidFill>
                <a:latin typeface="Trebuchet MS"/>
                <a:ea typeface="Roboto Light" charset="0"/>
                <a:cs typeface="Roboto Light" charset="0"/>
              </a:rPr>
              <a:t>Leistungsstarke</a:t>
            </a:r>
            <a:r>
              <a:rPr lang="en-US" sz="1260" dirty="0">
                <a:solidFill>
                  <a:srgbClr val="000000">
                    <a:lumMod val="50000"/>
                    <a:lumOff val="50000"/>
                  </a:srgbClr>
                </a:solidFill>
                <a:latin typeface="Trebuchet MS"/>
                <a:ea typeface="Roboto Light" charset="0"/>
                <a:cs typeface="Roboto Light" charset="0"/>
              </a:rPr>
              <a:t> (open source) </a:t>
            </a:r>
            <a:r>
              <a:rPr lang="en-US" sz="1260" dirty="0" err="1">
                <a:solidFill>
                  <a:srgbClr val="000000">
                    <a:lumMod val="50000"/>
                    <a:lumOff val="50000"/>
                  </a:srgbClr>
                </a:solidFill>
                <a:latin typeface="Trebuchet MS"/>
                <a:ea typeface="Roboto Light" charset="0"/>
                <a:cs typeface="Roboto Light" charset="0"/>
              </a:rPr>
              <a:t>Werkzeuge</a:t>
            </a:r>
            <a:r>
              <a:rPr lang="en-US" sz="1260" dirty="0">
                <a:solidFill>
                  <a:srgbClr val="000000">
                    <a:lumMod val="50000"/>
                    <a:lumOff val="50000"/>
                  </a:srgbClr>
                </a:solidFill>
                <a:latin typeface="Trebuchet MS"/>
                <a:ea typeface="Roboto Light" charset="0"/>
                <a:cs typeface="Roboto Light" charset="0"/>
              </a:rPr>
              <a:t> und </a:t>
            </a:r>
            <a:r>
              <a:rPr lang="en-US" sz="1260" dirty="0" err="1">
                <a:solidFill>
                  <a:srgbClr val="000000">
                    <a:lumMod val="50000"/>
                    <a:lumOff val="50000"/>
                  </a:srgbClr>
                </a:solidFill>
                <a:latin typeface="Trebuchet MS"/>
                <a:ea typeface="Roboto Light" charset="0"/>
                <a:cs typeface="Roboto Light" charset="0"/>
              </a:rPr>
              <a:t>Bibliotheken</a:t>
            </a:r>
            <a:r>
              <a:rPr lang="en-US" sz="1260" dirty="0">
                <a:solidFill>
                  <a:srgbClr val="000000">
                    <a:lumMod val="50000"/>
                    <a:lumOff val="50000"/>
                  </a:srgbClr>
                </a:solidFill>
                <a:latin typeface="Trebuchet MS"/>
                <a:ea typeface="Roboto Light" charset="0"/>
                <a:cs typeface="Roboto Light" charset="0"/>
              </a:rPr>
              <a:t> </a:t>
            </a:r>
            <a:r>
              <a:rPr lang="en-US" sz="1260" dirty="0" err="1">
                <a:solidFill>
                  <a:srgbClr val="000000">
                    <a:lumMod val="50000"/>
                    <a:lumOff val="50000"/>
                  </a:srgbClr>
                </a:solidFill>
                <a:latin typeface="Trebuchet MS"/>
                <a:ea typeface="Roboto Light" charset="0"/>
                <a:cs typeface="Roboto Light" charset="0"/>
              </a:rPr>
              <a:t>sind</a:t>
            </a:r>
            <a:r>
              <a:rPr lang="en-US" sz="1260" dirty="0">
                <a:solidFill>
                  <a:srgbClr val="000000">
                    <a:lumMod val="50000"/>
                    <a:lumOff val="50000"/>
                  </a:srgbClr>
                </a:solidFill>
                <a:latin typeface="Trebuchet MS"/>
                <a:ea typeface="Roboto Light" charset="0"/>
                <a:cs typeface="Roboto Light" charset="0"/>
              </a:rPr>
              <a:t> </a:t>
            </a:r>
            <a:r>
              <a:rPr lang="en-US" sz="1260" dirty="0" err="1">
                <a:solidFill>
                  <a:srgbClr val="000000">
                    <a:lumMod val="50000"/>
                    <a:lumOff val="50000"/>
                  </a:srgbClr>
                </a:solidFill>
                <a:latin typeface="Trebuchet MS"/>
                <a:ea typeface="Roboto Light" charset="0"/>
                <a:cs typeface="Roboto Light" charset="0"/>
              </a:rPr>
              <a:t>verfügbar</a:t>
            </a:r>
            <a:endParaRPr lang="en-US" sz="1260" dirty="0">
              <a:solidFill>
                <a:srgbClr val="000000">
                  <a:lumMod val="50000"/>
                  <a:lumOff val="50000"/>
                </a:srgbClr>
              </a:solidFill>
              <a:latin typeface="Trebuchet MS"/>
              <a:ea typeface="Roboto Light" charset="0"/>
              <a:cs typeface="Roboto Light" charset="0"/>
            </a:endParaRPr>
          </a:p>
        </p:txBody>
      </p:sp>
      <p:sp>
        <p:nvSpPr>
          <p:cNvPr id="39" name="Rectangle 28">
            <a:extLst>
              <a:ext uri="{FF2B5EF4-FFF2-40B4-BE49-F238E27FC236}">
                <a16:creationId xmlns:a16="http://schemas.microsoft.com/office/drawing/2014/main" id="{94EEC90E-BFC3-41D5-A52F-C8EBAE2072D7}"/>
              </a:ext>
            </a:extLst>
          </p:cNvPr>
          <p:cNvSpPr/>
          <p:nvPr/>
        </p:nvSpPr>
        <p:spPr>
          <a:xfrm>
            <a:off x="8399652" y="1951602"/>
            <a:ext cx="2013554" cy="313932"/>
          </a:xfrm>
          <a:prstGeom prst="rect">
            <a:avLst/>
          </a:prstGeom>
        </p:spPr>
        <p:txBody>
          <a:bodyPr wrap="square">
            <a:spAutoFit/>
          </a:bodyPr>
          <a:lstStyle/>
          <a:p>
            <a:pPr algn="ctr" defTabSz="822960">
              <a:spcAft>
                <a:spcPts val="540"/>
              </a:spcAft>
              <a:defRPr/>
            </a:pPr>
            <a:endParaRPr lang="en-US" sz="1440">
              <a:solidFill>
                <a:srgbClr val="000000"/>
              </a:solidFill>
              <a:latin typeface="Trebuchet MS"/>
              <a:ea typeface="Roboto Light" charset="0"/>
              <a:cs typeface="Roboto Light" charset="0"/>
            </a:endParaRPr>
          </a:p>
        </p:txBody>
      </p:sp>
      <p:sp>
        <p:nvSpPr>
          <p:cNvPr id="31" name="Rectangle 2">
            <a:extLst>
              <a:ext uri="{FF2B5EF4-FFF2-40B4-BE49-F238E27FC236}">
                <a16:creationId xmlns:a16="http://schemas.microsoft.com/office/drawing/2014/main" id="{5CAF9D7A-33BF-498A-8B5A-65BE145F9198}"/>
              </a:ext>
            </a:extLst>
          </p:cNvPr>
          <p:cNvSpPr/>
          <p:nvPr/>
        </p:nvSpPr>
        <p:spPr>
          <a:xfrm>
            <a:off x="6196315" y="2312454"/>
            <a:ext cx="2008800" cy="3163346"/>
          </a:xfrm>
          <a:prstGeom prst="rect">
            <a:avLst/>
          </a:prstGeom>
          <a:solidFill>
            <a:schemeClr val="bg1">
              <a:lumMod val="95000"/>
            </a:schemeClr>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550800" rtlCol="0" anchor="t"/>
          <a:lstStyle/>
          <a:p>
            <a:pPr algn="ctr" defTabSz="822960">
              <a:spcAft>
                <a:spcPts val="540"/>
              </a:spcAft>
              <a:defRPr/>
            </a:pPr>
            <a:r>
              <a:rPr lang="en-US" sz="1440" b="1">
                <a:solidFill>
                  <a:srgbClr val="000000"/>
                </a:solidFill>
                <a:latin typeface="Trebuchet MS"/>
                <a:ea typeface="Roboto Light" charset="0"/>
                <a:cs typeface="Roboto Light" charset="0"/>
              </a:rPr>
              <a:t>Cloud-</a:t>
            </a:r>
            <a:r>
              <a:rPr lang="en-US" sz="1440" b="1" err="1">
                <a:solidFill>
                  <a:srgbClr val="000000"/>
                </a:solidFill>
                <a:latin typeface="Trebuchet MS"/>
                <a:ea typeface="Roboto Light" charset="0"/>
                <a:cs typeface="Roboto Light" charset="0"/>
              </a:rPr>
              <a:t>Dienste</a:t>
            </a:r>
            <a:r>
              <a:rPr lang="en-US" sz="1440" b="1">
                <a:solidFill>
                  <a:srgbClr val="000000"/>
                </a:solidFill>
                <a:latin typeface="Trebuchet MS"/>
                <a:ea typeface="Roboto Light" charset="0"/>
                <a:cs typeface="Roboto Light" charset="0"/>
              </a:rPr>
              <a:t> </a:t>
            </a:r>
            <a:r>
              <a:rPr lang="en-US" sz="1440" b="1" err="1">
                <a:solidFill>
                  <a:srgbClr val="000000"/>
                </a:solidFill>
                <a:latin typeface="Trebuchet MS"/>
                <a:ea typeface="Roboto Light" charset="0"/>
                <a:cs typeface="Roboto Light" charset="0"/>
              </a:rPr>
              <a:t>liefern</a:t>
            </a:r>
            <a:r>
              <a:rPr lang="en-US" sz="1440" b="1">
                <a:solidFill>
                  <a:srgbClr val="000000"/>
                </a:solidFill>
                <a:latin typeface="Trebuchet MS"/>
                <a:ea typeface="Roboto Light" charset="0"/>
                <a:cs typeface="Roboto Light" charset="0"/>
              </a:rPr>
              <a:t> die </a:t>
            </a:r>
            <a:r>
              <a:rPr lang="en-US" sz="1440" b="1" err="1">
                <a:solidFill>
                  <a:srgbClr val="000000"/>
                </a:solidFill>
                <a:latin typeface="Trebuchet MS"/>
                <a:ea typeface="Roboto Light" charset="0"/>
                <a:cs typeface="Roboto Light" charset="0"/>
              </a:rPr>
              <a:t>erforderliche</a:t>
            </a:r>
            <a:r>
              <a:rPr lang="en-US" sz="1440" b="1">
                <a:solidFill>
                  <a:srgbClr val="000000"/>
                </a:solidFill>
                <a:latin typeface="Trebuchet MS"/>
                <a:ea typeface="Roboto Light" charset="0"/>
                <a:cs typeface="Roboto Light" charset="0"/>
              </a:rPr>
              <a:t> </a:t>
            </a:r>
            <a:r>
              <a:rPr lang="en-US" sz="1440" b="1" err="1">
                <a:solidFill>
                  <a:srgbClr val="000000"/>
                </a:solidFill>
                <a:latin typeface="Trebuchet MS"/>
                <a:ea typeface="Roboto Light" charset="0"/>
                <a:cs typeface="Roboto Light" charset="0"/>
              </a:rPr>
              <a:t>Rechenleistung</a:t>
            </a:r>
            <a:endParaRPr lang="en-US" sz="1440" b="1">
              <a:solidFill>
                <a:srgbClr val="000000"/>
              </a:solidFill>
              <a:latin typeface="Trebuchet MS"/>
              <a:ea typeface="Roboto Light" charset="0"/>
              <a:cs typeface="Roboto Light" charset="0"/>
            </a:endParaRPr>
          </a:p>
          <a:p>
            <a:pPr algn="ctr" defTabSz="822960">
              <a:spcAft>
                <a:spcPts val="540"/>
              </a:spcAft>
              <a:defRPr/>
            </a:pPr>
            <a:endParaRPr lang="en-US" sz="1260">
              <a:solidFill>
                <a:srgbClr val="000000">
                  <a:lumMod val="50000"/>
                  <a:lumOff val="50000"/>
                </a:srgbClr>
              </a:solidFill>
              <a:latin typeface="Trebuchet MS"/>
              <a:ea typeface="Roboto Light" charset="0"/>
              <a:cs typeface="Roboto Light" charset="0"/>
            </a:endParaRPr>
          </a:p>
          <a:p>
            <a:pPr algn="ctr" defTabSz="822960">
              <a:spcAft>
                <a:spcPts val="540"/>
              </a:spcAft>
              <a:defRPr/>
            </a:pPr>
            <a:r>
              <a:rPr lang="de-DE" sz="1260">
                <a:solidFill>
                  <a:srgbClr val="000000">
                    <a:lumMod val="50000"/>
                    <a:lumOff val="50000"/>
                  </a:srgbClr>
                </a:solidFill>
                <a:latin typeface="Trebuchet MS"/>
                <a:ea typeface="Roboto Light" charset="0"/>
                <a:cs typeface="Roboto Light" charset="0"/>
              </a:rPr>
              <a:t>Cloud-Dienste</a:t>
            </a:r>
            <a:r>
              <a:rPr lang="en-US" sz="1260">
                <a:solidFill>
                  <a:srgbClr val="000000">
                    <a:lumMod val="50000"/>
                    <a:lumOff val="50000"/>
                  </a:srgbClr>
                </a:solidFill>
                <a:latin typeface="Trebuchet MS"/>
                <a:ea typeface="Roboto Light" charset="0"/>
                <a:cs typeface="Roboto Light" charset="0"/>
              </a:rPr>
              <a:t> </a:t>
            </a:r>
            <a:r>
              <a:rPr lang="en-US" sz="1260" err="1">
                <a:solidFill>
                  <a:srgbClr val="000000">
                    <a:lumMod val="50000"/>
                    <a:lumOff val="50000"/>
                  </a:srgbClr>
                </a:solidFill>
                <a:latin typeface="Trebuchet MS"/>
                <a:ea typeface="Roboto Light" charset="0"/>
                <a:cs typeface="Roboto Light" charset="0"/>
              </a:rPr>
              <a:t>ermöglichen</a:t>
            </a:r>
            <a:r>
              <a:rPr lang="en-US" sz="1260">
                <a:solidFill>
                  <a:srgbClr val="000000">
                    <a:lumMod val="50000"/>
                    <a:lumOff val="50000"/>
                  </a:srgbClr>
                </a:solidFill>
                <a:latin typeface="Trebuchet MS"/>
                <a:ea typeface="Roboto Light" charset="0"/>
                <a:cs typeface="Roboto Light" charset="0"/>
              </a:rPr>
              <a:t> </a:t>
            </a:r>
            <a:r>
              <a:rPr lang="en-US" sz="1260" err="1">
                <a:solidFill>
                  <a:srgbClr val="000000">
                    <a:lumMod val="50000"/>
                    <a:lumOff val="50000"/>
                  </a:srgbClr>
                </a:solidFill>
                <a:latin typeface="Trebuchet MS"/>
                <a:ea typeface="Roboto Light" charset="0"/>
                <a:cs typeface="Roboto Light" charset="0"/>
              </a:rPr>
              <a:t>eine</a:t>
            </a:r>
            <a:r>
              <a:rPr lang="en-US" sz="1260">
                <a:solidFill>
                  <a:srgbClr val="000000">
                    <a:lumMod val="50000"/>
                    <a:lumOff val="50000"/>
                  </a:srgbClr>
                </a:solidFill>
                <a:latin typeface="Trebuchet MS"/>
                <a:ea typeface="Roboto Light" charset="0"/>
                <a:cs typeface="Roboto Light" charset="0"/>
              </a:rPr>
              <a:t> </a:t>
            </a:r>
            <a:r>
              <a:rPr lang="en-US" sz="1260" err="1">
                <a:solidFill>
                  <a:srgbClr val="000000">
                    <a:lumMod val="50000"/>
                    <a:lumOff val="50000"/>
                  </a:srgbClr>
                </a:solidFill>
                <a:latin typeface="Trebuchet MS"/>
                <a:ea typeface="Roboto Light" charset="0"/>
                <a:cs typeface="Roboto Light" charset="0"/>
              </a:rPr>
              <a:t>schnelle</a:t>
            </a:r>
            <a:r>
              <a:rPr lang="en-US" sz="1260">
                <a:solidFill>
                  <a:srgbClr val="000000">
                    <a:lumMod val="50000"/>
                    <a:lumOff val="50000"/>
                  </a:srgbClr>
                </a:solidFill>
                <a:latin typeface="Trebuchet MS"/>
                <a:ea typeface="Roboto Light" charset="0"/>
                <a:cs typeface="Roboto Light" charset="0"/>
              </a:rPr>
              <a:t>, flexible und </a:t>
            </a:r>
            <a:r>
              <a:rPr lang="en-US" sz="1260" err="1">
                <a:solidFill>
                  <a:srgbClr val="000000">
                    <a:lumMod val="50000"/>
                    <a:lumOff val="50000"/>
                  </a:srgbClr>
                </a:solidFill>
                <a:latin typeface="Trebuchet MS"/>
                <a:ea typeface="Roboto Light" charset="0"/>
                <a:cs typeface="Roboto Light" charset="0"/>
              </a:rPr>
              <a:t>erschwingliche</a:t>
            </a:r>
            <a:r>
              <a:rPr lang="en-US" sz="1260">
                <a:solidFill>
                  <a:srgbClr val="000000">
                    <a:lumMod val="50000"/>
                    <a:lumOff val="50000"/>
                  </a:srgbClr>
                </a:solidFill>
                <a:latin typeface="Trebuchet MS"/>
                <a:ea typeface="Roboto Light" charset="0"/>
                <a:cs typeface="Roboto Light" charset="0"/>
              </a:rPr>
              <a:t> </a:t>
            </a:r>
            <a:r>
              <a:rPr lang="en-US" sz="1260" err="1">
                <a:solidFill>
                  <a:srgbClr val="000000">
                    <a:lumMod val="50000"/>
                    <a:lumOff val="50000"/>
                  </a:srgbClr>
                </a:solidFill>
                <a:latin typeface="Trebuchet MS"/>
                <a:ea typeface="Roboto Light" charset="0"/>
                <a:cs typeface="Roboto Light" charset="0"/>
              </a:rPr>
              <a:t>Nutzung</a:t>
            </a:r>
            <a:r>
              <a:rPr lang="en-US" sz="1260">
                <a:solidFill>
                  <a:srgbClr val="000000">
                    <a:lumMod val="50000"/>
                    <a:lumOff val="50000"/>
                  </a:srgbClr>
                </a:solidFill>
                <a:latin typeface="Trebuchet MS"/>
                <a:ea typeface="Roboto Light" charset="0"/>
                <a:cs typeface="Roboto Light" charset="0"/>
              </a:rPr>
              <a:t> von </a:t>
            </a:r>
            <a:r>
              <a:rPr lang="en-US" sz="1260" err="1">
                <a:solidFill>
                  <a:srgbClr val="000000">
                    <a:lumMod val="50000"/>
                    <a:lumOff val="50000"/>
                  </a:srgbClr>
                </a:solidFill>
                <a:latin typeface="Trebuchet MS"/>
                <a:ea typeface="Roboto Light" charset="0"/>
                <a:cs typeface="Roboto Light" charset="0"/>
              </a:rPr>
              <a:t>Computerressourcen</a:t>
            </a:r>
            <a:r>
              <a:rPr lang="en-US" sz="1260">
                <a:solidFill>
                  <a:srgbClr val="000000">
                    <a:lumMod val="50000"/>
                    <a:lumOff val="50000"/>
                  </a:srgbClr>
                </a:solidFill>
                <a:latin typeface="Trebuchet MS"/>
                <a:ea typeface="Roboto Light" charset="0"/>
                <a:cs typeface="Roboto Light" charset="0"/>
              </a:rPr>
              <a:t> </a:t>
            </a:r>
            <a:r>
              <a:rPr lang="en-US" sz="1260" err="1">
                <a:solidFill>
                  <a:srgbClr val="000000">
                    <a:lumMod val="50000"/>
                    <a:lumOff val="50000"/>
                  </a:srgbClr>
                </a:solidFill>
                <a:latin typeface="Trebuchet MS"/>
                <a:ea typeface="Roboto Light" charset="0"/>
                <a:cs typeface="Roboto Light" charset="0"/>
              </a:rPr>
              <a:t>ohne</a:t>
            </a:r>
            <a:r>
              <a:rPr lang="en-US" sz="1260">
                <a:solidFill>
                  <a:srgbClr val="000000">
                    <a:lumMod val="50000"/>
                    <a:lumOff val="50000"/>
                  </a:srgbClr>
                </a:solidFill>
                <a:latin typeface="Trebuchet MS"/>
                <a:ea typeface="Roboto Light" charset="0"/>
                <a:cs typeface="Roboto Light" charset="0"/>
              </a:rPr>
              <a:t> </a:t>
            </a:r>
            <a:r>
              <a:rPr lang="en-US" sz="1260" err="1">
                <a:solidFill>
                  <a:srgbClr val="000000">
                    <a:lumMod val="50000"/>
                    <a:lumOff val="50000"/>
                  </a:srgbClr>
                </a:solidFill>
                <a:latin typeface="Trebuchet MS"/>
                <a:ea typeface="Roboto Light" charset="0"/>
                <a:cs typeface="Roboto Light" charset="0"/>
              </a:rPr>
              <a:t>große</a:t>
            </a:r>
            <a:r>
              <a:rPr lang="en-US" sz="1260">
                <a:solidFill>
                  <a:srgbClr val="000000">
                    <a:lumMod val="50000"/>
                    <a:lumOff val="50000"/>
                  </a:srgbClr>
                </a:solidFill>
                <a:latin typeface="Trebuchet MS"/>
                <a:ea typeface="Roboto Light" charset="0"/>
                <a:cs typeface="Roboto Light" charset="0"/>
              </a:rPr>
              <a:t> </a:t>
            </a:r>
            <a:r>
              <a:rPr lang="en-US" sz="1260" err="1">
                <a:solidFill>
                  <a:srgbClr val="000000">
                    <a:lumMod val="50000"/>
                    <a:lumOff val="50000"/>
                  </a:srgbClr>
                </a:solidFill>
                <a:latin typeface="Trebuchet MS"/>
                <a:ea typeface="Roboto Light" charset="0"/>
                <a:cs typeface="Roboto Light" charset="0"/>
              </a:rPr>
              <a:t>Investitionen</a:t>
            </a:r>
            <a:endParaRPr lang="en-US" sz="1260">
              <a:solidFill>
                <a:srgbClr val="000000">
                  <a:lumMod val="50000"/>
                  <a:lumOff val="50000"/>
                </a:srgbClr>
              </a:solidFill>
              <a:latin typeface="Trebuchet MS"/>
              <a:ea typeface="Roboto Light" charset="0"/>
              <a:cs typeface="Roboto Light" charset="0"/>
            </a:endParaRPr>
          </a:p>
        </p:txBody>
      </p:sp>
      <p:grpSp>
        <p:nvGrpSpPr>
          <p:cNvPr id="24" name="Gruppieren 23">
            <a:extLst>
              <a:ext uri="{FF2B5EF4-FFF2-40B4-BE49-F238E27FC236}">
                <a16:creationId xmlns:a16="http://schemas.microsoft.com/office/drawing/2014/main" id="{FE5822D2-83B0-4606-BD5F-F6CDC7C4FB6D}"/>
              </a:ext>
            </a:extLst>
          </p:cNvPr>
          <p:cNvGrpSpPr/>
          <p:nvPr/>
        </p:nvGrpSpPr>
        <p:grpSpPr>
          <a:xfrm>
            <a:off x="4606007" y="1956616"/>
            <a:ext cx="782743" cy="782743"/>
            <a:chOff x="3297452" y="1793018"/>
            <a:chExt cx="869714" cy="869714"/>
          </a:xfrm>
        </p:grpSpPr>
        <p:sp>
          <p:nvSpPr>
            <p:cNvPr id="22" name="Oval 4">
              <a:extLst>
                <a:ext uri="{FF2B5EF4-FFF2-40B4-BE49-F238E27FC236}">
                  <a16:creationId xmlns:a16="http://schemas.microsoft.com/office/drawing/2014/main" id="{1C6546A9-8945-498D-A75A-0FCC7C510E69}"/>
                </a:ext>
              </a:extLst>
            </p:cNvPr>
            <p:cNvSpPr/>
            <p:nvPr/>
          </p:nvSpPr>
          <p:spPr>
            <a:xfrm>
              <a:off x="3297452" y="1793018"/>
              <a:ext cx="869714" cy="86971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216">
                <a:solidFill>
                  <a:srgbClr val="FFFFFF"/>
                </a:solidFill>
                <a:latin typeface="Trebuchet MS"/>
              </a:endParaRPr>
            </a:p>
          </p:txBody>
        </p:sp>
        <p:pic>
          <p:nvPicPr>
            <p:cNvPr id="6" name="Grafik 5" descr="Zahnrad">
              <a:extLst>
                <a:ext uri="{FF2B5EF4-FFF2-40B4-BE49-F238E27FC236}">
                  <a16:creationId xmlns:a16="http://schemas.microsoft.com/office/drawing/2014/main" id="{46ED52F5-B24C-46F5-A089-565180EEB57F}"/>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408309" y="1903875"/>
              <a:ext cx="648000" cy="648000"/>
            </a:xfrm>
            <a:prstGeom prst="rect">
              <a:avLst/>
            </a:prstGeom>
          </p:spPr>
        </p:pic>
      </p:grpSp>
      <p:grpSp>
        <p:nvGrpSpPr>
          <p:cNvPr id="26" name="Gruppieren 25">
            <a:extLst>
              <a:ext uri="{FF2B5EF4-FFF2-40B4-BE49-F238E27FC236}">
                <a16:creationId xmlns:a16="http://schemas.microsoft.com/office/drawing/2014/main" id="{E643DF20-610F-46D3-A5DB-C8C9526CD78F}"/>
              </a:ext>
            </a:extLst>
          </p:cNvPr>
          <p:cNvGrpSpPr/>
          <p:nvPr/>
        </p:nvGrpSpPr>
        <p:grpSpPr>
          <a:xfrm>
            <a:off x="6809344" y="1951600"/>
            <a:ext cx="782743" cy="782743"/>
            <a:chOff x="5745604" y="1787444"/>
            <a:chExt cx="869714" cy="869714"/>
          </a:xfrm>
        </p:grpSpPr>
        <p:sp>
          <p:nvSpPr>
            <p:cNvPr id="25" name="Oval 4">
              <a:extLst>
                <a:ext uri="{FF2B5EF4-FFF2-40B4-BE49-F238E27FC236}">
                  <a16:creationId xmlns:a16="http://schemas.microsoft.com/office/drawing/2014/main" id="{1C6546A9-8945-498D-A75A-0FCC7C510E69}"/>
                </a:ext>
              </a:extLst>
            </p:cNvPr>
            <p:cNvSpPr/>
            <p:nvPr/>
          </p:nvSpPr>
          <p:spPr>
            <a:xfrm>
              <a:off x="5745604" y="1787444"/>
              <a:ext cx="869714" cy="86971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216">
                <a:solidFill>
                  <a:srgbClr val="FFFFFF"/>
                </a:solidFill>
                <a:latin typeface="Trebuchet MS"/>
              </a:endParaRPr>
            </a:p>
          </p:txBody>
        </p:sp>
        <p:pic>
          <p:nvPicPr>
            <p:cNvPr id="12" name="Grafik 11" descr="Prozessor">
              <a:extLst>
                <a:ext uri="{FF2B5EF4-FFF2-40B4-BE49-F238E27FC236}">
                  <a16:creationId xmlns:a16="http://schemas.microsoft.com/office/drawing/2014/main" id="{FF1A8466-104C-48A9-979F-676A222B5529}"/>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856461" y="1898301"/>
              <a:ext cx="648000" cy="648000"/>
            </a:xfrm>
            <a:prstGeom prst="rect">
              <a:avLst/>
            </a:prstGeom>
          </p:spPr>
        </p:pic>
      </p:grpSp>
      <p:grpSp>
        <p:nvGrpSpPr>
          <p:cNvPr id="20" name="Gruppieren 19">
            <a:extLst>
              <a:ext uri="{FF2B5EF4-FFF2-40B4-BE49-F238E27FC236}">
                <a16:creationId xmlns:a16="http://schemas.microsoft.com/office/drawing/2014/main" id="{19319CFF-6D42-4C38-AD2D-5DC3BD0C8A58}"/>
              </a:ext>
            </a:extLst>
          </p:cNvPr>
          <p:cNvGrpSpPr/>
          <p:nvPr/>
        </p:nvGrpSpPr>
        <p:grpSpPr>
          <a:xfrm>
            <a:off x="9008657" y="1951600"/>
            <a:ext cx="782743" cy="782743"/>
            <a:chOff x="8189285" y="1787444"/>
            <a:chExt cx="869714" cy="869714"/>
          </a:xfrm>
        </p:grpSpPr>
        <p:sp>
          <p:nvSpPr>
            <p:cNvPr id="28" name="Oval 4">
              <a:extLst>
                <a:ext uri="{FF2B5EF4-FFF2-40B4-BE49-F238E27FC236}">
                  <a16:creationId xmlns:a16="http://schemas.microsoft.com/office/drawing/2014/main" id="{1C6546A9-8945-498D-A75A-0FCC7C510E69}"/>
                </a:ext>
              </a:extLst>
            </p:cNvPr>
            <p:cNvSpPr/>
            <p:nvPr/>
          </p:nvSpPr>
          <p:spPr>
            <a:xfrm>
              <a:off x="8189285" y="1787444"/>
              <a:ext cx="869714" cy="86971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216">
                <a:solidFill>
                  <a:srgbClr val="FFFFFF"/>
                </a:solidFill>
                <a:latin typeface="Trebuchet MS"/>
              </a:endParaRPr>
            </a:p>
          </p:txBody>
        </p:sp>
        <p:pic>
          <p:nvPicPr>
            <p:cNvPr id="15" name="Grafik 14" descr="Rakete">
              <a:extLst>
                <a:ext uri="{FF2B5EF4-FFF2-40B4-BE49-F238E27FC236}">
                  <a16:creationId xmlns:a16="http://schemas.microsoft.com/office/drawing/2014/main" id="{E3716043-FC59-41CF-81FC-152748EDFC76}"/>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300142" y="1898301"/>
              <a:ext cx="648000" cy="648000"/>
            </a:xfrm>
            <a:prstGeom prst="rect">
              <a:avLst/>
            </a:prstGeom>
          </p:spPr>
        </p:pic>
      </p:grpSp>
      <p:grpSp>
        <p:nvGrpSpPr>
          <p:cNvPr id="21" name="Gruppieren 20">
            <a:extLst>
              <a:ext uri="{FF2B5EF4-FFF2-40B4-BE49-F238E27FC236}">
                <a16:creationId xmlns:a16="http://schemas.microsoft.com/office/drawing/2014/main" id="{D315DDC1-A2A2-48BF-9B14-141C3B4C2CCA}"/>
              </a:ext>
            </a:extLst>
          </p:cNvPr>
          <p:cNvGrpSpPr/>
          <p:nvPr/>
        </p:nvGrpSpPr>
        <p:grpSpPr>
          <a:xfrm>
            <a:off x="2402670" y="1951600"/>
            <a:ext cx="782743" cy="782743"/>
            <a:chOff x="849300" y="1787444"/>
            <a:chExt cx="869714" cy="869714"/>
          </a:xfrm>
        </p:grpSpPr>
        <p:sp>
          <p:nvSpPr>
            <p:cNvPr id="19" name="Oval 4">
              <a:extLst>
                <a:ext uri="{FF2B5EF4-FFF2-40B4-BE49-F238E27FC236}">
                  <a16:creationId xmlns:a16="http://schemas.microsoft.com/office/drawing/2014/main" id="{1C6546A9-8945-498D-A75A-0FCC7C510E69}"/>
                </a:ext>
              </a:extLst>
            </p:cNvPr>
            <p:cNvSpPr/>
            <p:nvPr/>
          </p:nvSpPr>
          <p:spPr>
            <a:xfrm>
              <a:off x="849300" y="1787444"/>
              <a:ext cx="869714" cy="86971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216">
                <a:solidFill>
                  <a:srgbClr val="FFFFFF"/>
                </a:solidFill>
                <a:latin typeface="Trebuchet MS"/>
              </a:endParaRPr>
            </a:p>
          </p:txBody>
        </p:sp>
        <p:pic>
          <p:nvPicPr>
            <p:cNvPr id="17" name="Grafik 16" descr="Diskette">
              <a:extLst>
                <a:ext uri="{FF2B5EF4-FFF2-40B4-BE49-F238E27FC236}">
                  <a16:creationId xmlns:a16="http://schemas.microsoft.com/office/drawing/2014/main" id="{5F1F0626-1EBD-4144-9C0E-5195667A23E8}"/>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60157" y="1898301"/>
              <a:ext cx="648000" cy="648000"/>
            </a:xfrm>
            <a:prstGeom prst="rect">
              <a:avLst/>
            </a:prstGeom>
          </p:spPr>
        </p:pic>
      </p:grpSp>
      <p:sp>
        <p:nvSpPr>
          <p:cNvPr id="2" name="Foliennummernplatzhalter 1">
            <a:extLst>
              <a:ext uri="{FF2B5EF4-FFF2-40B4-BE49-F238E27FC236}">
                <a16:creationId xmlns:a16="http://schemas.microsoft.com/office/drawing/2014/main" id="{C6360FD1-3DEA-B923-14EF-EAD839AA61FE}"/>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17</a:t>
            </a:fld>
            <a:endParaRPr lang="en-US" sz="810">
              <a:solidFill>
                <a:srgbClr val="889194"/>
              </a:solidFill>
              <a:latin typeface="Trebuchet MS"/>
            </a:endParaRPr>
          </a:p>
        </p:txBody>
      </p:sp>
    </p:spTree>
    <p:extLst>
      <p:ext uri="{BB962C8B-B14F-4D97-AF65-F5344CB8AC3E}">
        <p14:creationId xmlns:p14="http://schemas.microsoft.com/office/powerpoint/2010/main" val="87307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Wo liegen die Grenzen von ChatGPT?</a:t>
            </a:r>
          </a:p>
        </p:txBody>
      </p:sp>
      <p:pic>
        <p:nvPicPr>
          <p:cNvPr id="7" name="Inhaltsplatzhalter 6" descr="Bewertung 1 Stern mit einfarbiger Füllung">
            <a:extLst>
              <a:ext uri="{FF2B5EF4-FFF2-40B4-BE49-F238E27FC236}">
                <a16:creationId xmlns:a16="http://schemas.microsoft.com/office/drawing/2014/main" id="{D3C40BF1-6A65-4B3F-90DA-9BF11B043579}"/>
              </a:ext>
            </a:extLst>
          </p:cNvPr>
          <p:cNvPicPr>
            <a:picLocks noGrp="1" noChangeAspect="1"/>
          </p:cNvPicPr>
          <p:nvPr>
            <p:ph sz="quarter" idx="13"/>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2667794"/>
            <a:ext cx="914400" cy="914400"/>
          </a:xfrm>
        </p:spPr>
      </p:pic>
      <p:sp>
        <p:nvSpPr>
          <p:cNvPr id="44" name="Textplatzhalter 43">
            <a:extLst>
              <a:ext uri="{FF2B5EF4-FFF2-40B4-BE49-F238E27FC236}">
                <a16:creationId xmlns:a16="http://schemas.microsoft.com/office/drawing/2014/main" id="{8CD046A2-8578-FC7E-E1F7-1FC4D400571A}"/>
              </a:ext>
            </a:extLst>
          </p:cNvPr>
          <p:cNvSpPr>
            <a:spLocks noGrp="1"/>
          </p:cNvSpPr>
          <p:nvPr>
            <p:ph type="body" sz="quarter" idx="14"/>
          </p:nvPr>
        </p:nvSpPr>
        <p:spPr/>
        <p:txBody>
          <a:bodyPr/>
          <a:lstStyle/>
          <a:p>
            <a:r>
              <a:rPr lang="de-DE" b="1">
                <a:solidFill>
                  <a:schemeClr val="tx2"/>
                </a:solidFill>
                <a:sym typeface="Wingdings" pitchFamily="2" charset="2"/>
              </a:rPr>
              <a:t>ChatGPT kann als unterstützendes Werkzeug (wie Google, Wikipedia...) dienen und viel Arbeit erleichtern, jedoch muss es mit Vorsicht und kritischem Denken eingesetzt werden.</a:t>
            </a:r>
            <a:endParaRPr lang="de-DE" b="1">
              <a:solidFill>
                <a:schemeClr val="tx2"/>
              </a:solidFill>
            </a:endParaRPr>
          </a:p>
        </p:txBody>
      </p:sp>
      <p:sp>
        <p:nvSpPr>
          <p:cNvPr id="45" name="Textplatzhalter 44">
            <a:extLst>
              <a:ext uri="{FF2B5EF4-FFF2-40B4-BE49-F238E27FC236}">
                <a16:creationId xmlns:a16="http://schemas.microsoft.com/office/drawing/2014/main" id="{FB519CEE-7781-756B-4D83-0E0D5CA52DAA}"/>
              </a:ext>
            </a:extLst>
          </p:cNvPr>
          <p:cNvSpPr>
            <a:spLocks noGrp="1"/>
          </p:cNvSpPr>
          <p:nvPr>
            <p:ph type="body" sz="quarter" idx="16"/>
          </p:nvPr>
        </p:nvSpPr>
        <p:spPr/>
        <p:txBody>
          <a:bodyPr/>
          <a:lstStyle/>
          <a:p>
            <a:endParaRPr lang="de-DE"/>
          </a:p>
        </p:txBody>
      </p:sp>
      <p:sp>
        <p:nvSpPr>
          <p:cNvPr id="83" name="Pentagon 47"/>
          <p:cNvSpPr/>
          <p:nvPr/>
        </p:nvSpPr>
        <p:spPr bwMode="auto">
          <a:xfrm>
            <a:off x="5100124" y="3397407"/>
            <a:ext cx="731250" cy="731250"/>
          </a:xfrm>
          <a:prstGeom prst="roundRect">
            <a:avLst/>
          </a:prstGeom>
          <a:solidFill>
            <a:srgbClr val="004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de-DE" sz="1138" b="1" kern="0">
              <a:solidFill>
                <a:prstClr val="white"/>
              </a:solidFill>
              <a:latin typeface="Calibri" panose="020F0502020204030204" pitchFamily="34" charset="0"/>
            </a:endParaRPr>
          </a:p>
        </p:txBody>
      </p:sp>
      <p:sp>
        <p:nvSpPr>
          <p:cNvPr id="63" name="Pentagon 33"/>
          <p:cNvSpPr/>
          <p:nvPr/>
        </p:nvSpPr>
        <p:spPr bwMode="auto">
          <a:xfrm>
            <a:off x="5100124" y="2438951"/>
            <a:ext cx="731250" cy="7312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de-DE" sz="1138" b="1" kern="0">
              <a:solidFill>
                <a:prstClr val="white"/>
              </a:solidFill>
              <a:latin typeface="Calibri" panose="020F0502020204030204" pitchFamily="34" charset="0"/>
            </a:endParaRPr>
          </a:p>
        </p:txBody>
      </p:sp>
      <p:sp>
        <p:nvSpPr>
          <p:cNvPr id="68" name="Pentagon 19"/>
          <p:cNvSpPr/>
          <p:nvPr/>
        </p:nvSpPr>
        <p:spPr bwMode="auto">
          <a:xfrm>
            <a:off x="5100124" y="1480495"/>
            <a:ext cx="731250" cy="7312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de-DE" sz="1138" b="1" kern="0">
              <a:solidFill>
                <a:prstClr val="white"/>
              </a:solidFill>
              <a:latin typeface="Calibri" panose="020F0502020204030204" pitchFamily="34" charset="0"/>
            </a:endParaRPr>
          </a:p>
        </p:txBody>
      </p:sp>
      <p:sp>
        <p:nvSpPr>
          <p:cNvPr id="80" name="Pentagon 26"/>
          <p:cNvSpPr/>
          <p:nvPr/>
        </p:nvSpPr>
        <p:spPr bwMode="auto">
          <a:xfrm>
            <a:off x="5100124" y="4355862"/>
            <a:ext cx="731250" cy="731250"/>
          </a:xfrm>
          <a:prstGeom prst="roundRect">
            <a:avLst/>
          </a:prstGeom>
          <a:solidFill>
            <a:srgbClr val="004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de-DE" sz="1138" b="1" kern="0">
              <a:solidFill>
                <a:prstClr val="white"/>
              </a:solidFill>
              <a:latin typeface="Calibri" panose="020F0502020204030204" pitchFamily="34" charset="0"/>
            </a:endParaRPr>
          </a:p>
        </p:txBody>
      </p:sp>
      <p:sp>
        <p:nvSpPr>
          <p:cNvPr id="22" name="Pentagon 33"/>
          <p:cNvSpPr/>
          <p:nvPr/>
        </p:nvSpPr>
        <p:spPr bwMode="auto">
          <a:xfrm>
            <a:off x="6372144" y="2438951"/>
            <a:ext cx="731250" cy="7312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de-DE" sz="1138" b="1" kern="0">
              <a:solidFill>
                <a:prstClr val="white"/>
              </a:solidFill>
              <a:latin typeface="Calibri" panose="020F0502020204030204" pitchFamily="34" charset="0"/>
            </a:endParaRPr>
          </a:p>
        </p:txBody>
      </p:sp>
      <p:sp>
        <p:nvSpPr>
          <p:cNvPr id="23" name="Pentagon 19"/>
          <p:cNvSpPr/>
          <p:nvPr/>
        </p:nvSpPr>
        <p:spPr bwMode="auto">
          <a:xfrm>
            <a:off x="6372144" y="3397407"/>
            <a:ext cx="731250" cy="7312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de-DE" sz="1138" b="1" kern="0">
              <a:solidFill>
                <a:prstClr val="white"/>
              </a:solidFill>
              <a:latin typeface="Calibri" panose="020F0502020204030204" pitchFamily="34" charset="0"/>
            </a:endParaRPr>
          </a:p>
        </p:txBody>
      </p:sp>
      <p:sp>
        <p:nvSpPr>
          <p:cNvPr id="24" name="Pentagon 26"/>
          <p:cNvSpPr/>
          <p:nvPr/>
        </p:nvSpPr>
        <p:spPr bwMode="auto">
          <a:xfrm>
            <a:off x="6372144" y="4355862"/>
            <a:ext cx="731250" cy="7312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de-DE" sz="1138" b="1" kern="0">
              <a:solidFill>
                <a:prstClr val="white"/>
              </a:solidFill>
              <a:latin typeface="Calibri" panose="020F0502020204030204" pitchFamily="34" charset="0"/>
            </a:endParaRPr>
          </a:p>
        </p:txBody>
      </p:sp>
      <p:sp>
        <p:nvSpPr>
          <p:cNvPr id="25" name="Pentagon 47" descr="{&quot;Key&quot;:&quot;POWER_USER_SHAPE_ICON&quot;,&quot;Value&quot;:&quot;POWER_USER_SHAPE_ICON_STYLE_1&quot;}"/>
          <p:cNvSpPr/>
          <p:nvPr/>
        </p:nvSpPr>
        <p:spPr bwMode="auto">
          <a:xfrm>
            <a:off x="6372144" y="1480495"/>
            <a:ext cx="731250" cy="7312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de-DE" sz="1138" b="1" kern="0">
              <a:solidFill>
                <a:prstClr val="white"/>
              </a:solidFill>
              <a:latin typeface="Calibri" panose="020F0502020204030204" pitchFamily="34" charset="0"/>
            </a:endParaRPr>
          </a:p>
        </p:txBody>
      </p:sp>
      <p:sp>
        <p:nvSpPr>
          <p:cNvPr id="27" name="Rectangle 26"/>
          <p:cNvSpPr/>
          <p:nvPr/>
        </p:nvSpPr>
        <p:spPr bwMode="auto">
          <a:xfrm>
            <a:off x="7171158" y="1480496"/>
            <a:ext cx="3687786" cy="733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231" tIns="30956" rIns="72231" bIns="30956" rtlCol="0" anchor="ctr"/>
          <a:lstStyle/>
          <a:p>
            <a:pPr defTabSz="742950" fontAlgn="base">
              <a:lnSpc>
                <a:spcPct val="90000"/>
              </a:lnSpc>
              <a:defRPr/>
            </a:pPr>
            <a:r>
              <a:rPr lang="de-DE" sz="1300" b="1" kern="0">
                <a:solidFill>
                  <a:schemeClr val="tx2"/>
                </a:solidFill>
                <a:cs typeface="Arial" pitchFamily="34" charset="0"/>
              </a:rPr>
              <a:t>Bias</a:t>
            </a:r>
          </a:p>
          <a:p>
            <a:pPr defTabSz="742950" fontAlgn="base">
              <a:lnSpc>
                <a:spcPct val="90000"/>
              </a:lnSpc>
              <a:defRPr/>
            </a:pPr>
            <a:r>
              <a:rPr lang="de-DE" sz="1300" kern="0">
                <a:solidFill>
                  <a:schemeClr val="tx1"/>
                </a:solidFill>
                <a:cs typeface="Arial" pitchFamily="34" charset="0"/>
              </a:rPr>
              <a:t>Bias in den Trainingsdaten kann zu Bias in den Antworten von ChatGPT führen </a:t>
            </a:r>
          </a:p>
        </p:txBody>
      </p:sp>
      <p:sp>
        <p:nvSpPr>
          <p:cNvPr id="28" name="Rectangle 27"/>
          <p:cNvSpPr/>
          <p:nvPr/>
        </p:nvSpPr>
        <p:spPr bwMode="auto">
          <a:xfrm>
            <a:off x="7171159" y="2436789"/>
            <a:ext cx="3388301" cy="733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231" tIns="30956" rIns="72231" bIns="30956" rtlCol="0" anchor="ctr"/>
          <a:lstStyle/>
          <a:p>
            <a:pPr defTabSz="742950" fontAlgn="base">
              <a:lnSpc>
                <a:spcPct val="90000"/>
              </a:lnSpc>
              <a:defRPr/>
            </a:pPr>
            <a:r>
              <a:rPr lang="de-DE" sz="1300" b="1" kern="0">
                <a:solidFill>
                  <a:schemeClr val="tx2"/>
                </a:solidFill>
                <a:cs typeface="Arial" pitchFamily="34" charset="0"/>
              </a:rPr>
              <a:t>Datenschutz und Datensicherheit</a:t>
            </a:r>
          </a:p>
          <a:p>
            <a:pPr defTabSz="742950" fontAlgn="base">
              <a:lnSpc>
                <a:spcPct val="90000"/>
              </a:lnSpc>
              <a:defRPr/>
            </a:pPr>
            <a:r>
              <a:rPr lang="de-DE" sz="1300" kern="0">
                <a:solidFill>
                  <a:schemeClr val="tx1"/>
                </a:solidFill>
                <a:cs typeface="Arial" pitchFamily="34" charset="0"/>
              </a:rPr>
              <a:t>Das Training von LLMs auf einer großen Menge an persönlichen Daten führt zu Datenschutz- und Sicherheitsrisiken</a:t>
            </a:r>
          </a:p>
        </p:txBody>
      </p:sp>
      <p:sp>
        <p:nvSpPr>
          <p:cNvPr id="29" name="Rectangle 28"/>
          <p:cNvSpPr/>
          <p:nvPr/>
        </p:nvSpPr>
        <p:spPr bwMode="auto">
          <a:xfrm>
            <a:off x="7171159" y="3393082"/>
            <a:ext cx="3388301" cy="733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231" tIns="30956" rIns="72231" bIns="30956" rtlCol="0" anchor="ctr"/>
          <a:lstStyle/>
          <a:p>
            <a:pPr defTabSz="742950" fontAlgn="base">
              <a:lnSpc>
                <a:spcPct val="90000"/>
              </a:lnSpc>
              <a:defRPr/>
            </a:pPr>
            <a:r>
              <a:rPr lang="de-DE" sz="1300" b="1" kern="0">
                <a:solidFill>
                  <a:schemeClr val="tx2"/>
                </a:solidFill>
                <a:cs typeface="Arial" pitchFamily="34" charset="0"/>
              </a:rPr>
              <a:t>Fehlende Quellenangaben</a:t>
            </a:r>
          </a:p>
          <a:p>
            <a:pPr defTabSz="742950" fontAlgn="base">
              <a:lnSpc>
                <a:spcPct val="90000"/>
              </a:lnSpc>
              <a:defRPr/>
            </a:pPr>
            <a:r>
              <a:rPr lang="de-DE" sz="1300" kern="0">
                <a:solidFill>
                  <a:schemeClr val="tx1"/>
                </a:solidFill>
                <a:cs typeface="Arial" pitchFamily="34" charset="0"/>
              </a:rPr>
              <a:t>ChatGPT ist nicht in der Lage, den Output zuverlässig mit korrekten Quellen zu belegen</a:t>
            </a:r>
          </a:p>
        </p:txBody>
      </p:sp>
      <p:sp>
        <p:nvSpPr>
          <p:cNvPr id="30" name="Rectangle 29"/>
          <p:cNvSpPr/>
          <p:nvPr/>
        </p:nvSpPr>
        <p:spPr bwMode="auto">
          <a:xfrm>
            <a:off x="7171158" y="4349375"/>
            <a:ext cx="3520764" cy="733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231" tIns="30956" rIns="72231" bIns="30956" rtlCol="0" anchor="ctr"/>
          <a:lstStyle/>
          <a:p>
            <a:pPr defTabSz="742950" fontAlgn="base">
              <a:lnSpc>
                <a:spcPct val="90000"/>
              </a:lnSpc>
              <a:defRPr/>
            </a:pPr>
            <a:r>
              <a:rPr lang="de-DE" sz="1300" b="1" kern="0" dirty="0">
                <a:solidFill>
                  <a:schemeClr val="tx2"/>
                </a:solidFill>
                <a:cs typeface="Arial" pitchFamily="34" charset="0"/>
              </a:rPr>
              <a:t>Fehlende Zitierwürdigkeit</a:t>
            </a:r>
          </a:p>
          <a:p>
            <a:pPr defTabSz="742950" fontAlgn="base">
              <a:lnSpc>
                <a:spcPct val="90000"/>
              </a:lnSpc>
              <a:defRPr/>
            </a:pPr>
            <a:r>
              <a:rPr lang="de-DE" sz="1300" kern="0" dirty="0">
                <a:solidFill>
                  <a:schemeClr val="tx1"/>
                </a:solidFill>
                <a:cs typeface="Arial" pitchFamily="34" charset="0"/>
              </a:rPr>
              <a:t>Da </a:t>
            </a:r>
            <a:r>
              <a:rPr lang="de-DE" sz="1300" kern="0" dirty="0" err="1">
                <a:solidFill>
                  <a:schemeClr val="tx1"/>
                </a:solidFill>
                <a:cs typeface="Arial" pitchFamily="34" charset="0"/>
              </a:rPr>
              <a:t>ChatGPT</a:t>
            </a:r>
            <a:r>
              <a:rPr lang="de-DE" sz="1300" kern="0" dirty="0">
                <a:solidFill>
                  <a:schemeClr val="tx1"/>
                </a:solidFill>
                <a:cs typeface="Arial" pitchFamily="34" charset="0"/>
              </a:rPr>
              <a:t> unterschiedliche Outputs generiert, sind Aussagen nicht verifizierbar, weshalb seine Autorenschaft nicht nachprüfbar ist</a:t>
            </a:r>
          </a:p>
        </p:txBody>
      </p:sp>
      <p:sp>
        <p:nvSpPr>
          <p:cNvPr id="31" name="Rectangle 30"/>
          <p:cNvSpPr/>
          <p:nvPr/>
        </p:nvSpPr>
        <p:spPr bwMode="auto">
          <a:xfrm>
            <a:off x="1488559" y="1478333"/>
            <a:ext cx="3509560" cy="733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231" tIns="30956" rIns="72231" bIns="30956" rtlCol="0" anchor="ctr"/>
          <a:lstStyle/>
          <a:p>
            <a:pPr algn="r" defTabSz="742950" fontAlgn="base">
              <a:lnSpc>
                <a:spcPct val="90000"/>
              </a:lnSpc>
              <a:defRPr/>
            </a:pPr>
            <a:r>
              <a:rPr lang="de-DE" sz="1300" b="1" kern="0">
                <a:solidFill>
                  <a:schemeClr val="tx2"/>
                </a:solidFill>
                <a:cs typeface="Arial" pitchFamily="34" charset="0"/>
              </a:rPr>
              <a:t>Rechenleistung</a:t>
            </a:r>
          </a:p>
          <a:p>
            <a:pPr algn="r" defTabSz="742950" fontAlgn="base">
              <a:lnSpc>
                <a:spcPct val="90000"/>
              </a:lnSpc>
              <a:defRPr/>
            </a:pPr>
            <a:r>
              <a:rPr lang="de-DE" sz="1300" kern="0">
                <a:solidFill>
                  <a:schemeClr val="tx1"/>
                </a:solidFill>
                <a:cs typeface="Arial" pitchFamily="34" charset="0"/>
              </a:rPr>
              <a:t>Das Training großer Sprachmodelle erfordert sehr viel Rechenleistung und Speicher </a:t>
            </a:r>
          </a:p>
        </p:txBody>
      </p:sp>
      <p:sp>
        <p:nvSpPr>
          <p:cNvPr id="32" name="Rectangle 31"/>
          <p:cNvSpPr/>
          <p:nvPr/>
        </p:nvSpPr>
        <p:spPr bwMode="auto">
          <a:xfrm>
            <a:off x="1534633" y="2434626"/>
            <a:ext cx="3463486" cy="733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231" tIns="30956" rIns="72231" bIns="30956" rtlCol="0" anchor="ctr"/>
          <a:lstStyle/>
          <a:p>
            <a:pPr algn="r" defTabSz="742950" fontAlgn="base">
              <a:lnSpc>
                <a:spcPct val="90000"/>
              </a:lnSpc>
              <a:defRPr/>
            </a:pPr>
            <a:r>
              <a:rPr lang="de-DE" sz="1300" b="1" kern="0">
                <a:solidFill>
                  <a:schemeClr val="tx2"/>
                </a:solidFill>
                <a:cs typeface="Arial" pitchFamily="34" charset="0"/>
              </a:rPr>
              <a:t>Datenqualität</a:t>
            </a:r>
          </a:p>
          <a:p>
            <a:pPr algn="r" defTabSz="742950" fontAlgn="base">
              <a:lnSpc>
                <a:spcPct val="90000"/>
              </a:lnSpc>
              <a:defRPr/>
            </a:pPr>
            <a:r>
              <a:rPr lang="de-DE" sz="1300" kern="0">
                <a:solidFill>
                  <a:schemeClr val="tx1"/>
                </a:solidFill>
                <a:cs typeface="Arial" pitchFamily="34" charset="0"/>
              </a:rPr>
              <a:t>Unvollständige, ungenaue oder ungleich verteilte Daten führen zu ungenauen oder unangemessenen Ergebnissen </a:t>
            </a:r>
          </a:p>
        </p:txBody>
      </p:sp>
      <p:sp>
        <p:nvSpPr>
          <p:cNvPr id="33" name="Rectangle 32"/>
          <p:cNvSpPr/>
          <p:nvPr/>
        </p:nvSpPr>
        <p:spPr bwMode="auto">
          <a:xfrm>
            <a:off x="1609819" y="3390919"/>
            <a:ext cx="3388301" cy="733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231" tIns="30956" rIns="72231" bIns="30956" rtlCol="0" anchor="ctr"/>
          <a:lstStyle/>
          <a:p>
            <a:pPr algn="r" defTabSz="742950" fontAlgn="base">
              <a:lnSpc>
                <a:spcPct val="90000"/>
              </a:lnSpc>
              <a:defRPr/>
            </a:pPr>
            <a:r>
              <a:rPr lang="de-DE" sz="1300" b="1" kern="0">
                <a:solidFill>
                  <a:schemeClr val="tx2"/>
                </a:solidFill>
                <a:cs typeface="Arial" pitchFamily="34" charset="0"/>
              </a:rPr>
              <a:t>Datenbestand</a:t>
            </a:r>
          </a:p>
          <a:p>
            <a:pPr algn="r" defTabSz="742950" fontAlgn="base">
              <a:lnSpc>
                <a:spcPct val="90000"/>
              </a:lnSpc>
              <a:defRPr/>
            </a:pPr>
            <a:r>
              <a:rPr lang="de-DE" sz="1300" kern="0">
                <a:solidFill>
                  <a:schemeClr val="tx1"/>
                </a:solidFill>
                <a:cs typeface="Arial" pitchFamily="34" charset="0"/>
              </a:rPr>
              <a:t>Fehlende Informationen zu aktuellen Ereignissen, da ChatGPT (aktuell) nur mit Daten bis September 2021 trainiert wurde </a:t>
            </a:r>
          </a:p>
        </p:txBody>
      </p:sp>
      <p:sp>
        <p:nvSpPr>
          <p:cNvPr id="34" name="Rectangle 33"/>
          <p:cNvSpPr/>
          <p:nvPr/>
        </p:nvSpPr>
        <p:spPr bwMode="auto">
          <a:xfrm>
            <a:off x="1609817" y="4347212"/>
            <a:ext cx="3388302" cy="733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231" tIns="30956" rIns="72231" bIns="30956" rtlCol="0" anchor="ctr"/>
          <a:lstStyle/>
          <a:p>
            <a:pPr algn="r" defTabSz="742950" fontAlgn="base">
              <a:lnSpc>
                <a:spcPct val="90000"/>
              </a:lnSpc>
              <a:defRPr/>
            </a:pPr>
            <a:r>
              <a:rPr lang="de-DE" sz="1300" b="1" kern="0">
                <a:solidFill>
                  <a:schemeClr val="tx2"/>
                </a:solidFill>
                <a:cs typeface="Arial" pitchFamily="34" charset="0"/>
              </a:rPr>
              <a:t>Halluzinationen</a:t>
            </a:r>
          </a:p>
          <a:p>
            <a:pPr algn="r" defTabSz="742950" fontAlgn="base">
              <a:lnSpc>
                <a:spcPct val="90000"/>
              </a:lnSpc>
              <a:defRPr/>
            </a:pPr>
            <a:r>
              <a:rPr lang="de-DE" sz="1300" kern="0">
                <a:solidFill>
                  <a:schemeClr val="tx1"/>
                </a:solidFill>
                <a:cs typeface="Arial" pitchFamily="34" charset="0"/>
              </a:rPr>
              <a:t>LLMs können Aussagen treffen, die nicht auf tatsächlichen Fakten basieren, aber häufig dennoch sehr überzeugend klingen</a:t>
            </a:r>
          </a:p>
        </p:txBody>
      </p:sp>
      <p:grpSp>
        <p:nvGrpSpPr>
          <p:cNvPr id="115" name="Chip3" descr="{&quot;Key&quot;:&quot;POWER_USER_SHAPE_ICON&quot;,&quot;Value&quot;:&quot;POWER_USER_SHAPE_ICON_STYLE_1&quot;}">
            <a:extLst>
              <a:ext uri="{FF2B5EF4-FFF2-40B4-BE49-F238E27FC236}">
                <a16:creationId xmlns:a16="http://schemas.microsoft.com/office/drawing/2014/main" id="{31C597AE-26DB-AE4F-77D2-5032402E8FD7}"/>
              </a:ext>
            </a:extLst>
          </p:cNvPr>
          <p:cNvGrpSpPr>
            <a:grpSpLocks noChangeAspect="1"/>
          </p:cNvGrpSpPr>
          <p:nvPr>
            <p:custDataLst>
              <p:tags r:id="rId2"/>
            </p:custDataLst>
          </p:nvPr>
        </p:nvGrpSpPr>
        <p:grpSpPr>
          <a:xfrm>
            <a:off x="5209762" y="1593843"/>
            <a:ext cx="511673" cy="511674"/>
            <a:chOff x="6950076" y="1943100"/>
            <a:chExt cx="561975" cy="561976"/>
          </a:xfrm>
          <a:solidFill>
            <a:schemeClr val="lt1"/>
          </a:solidFill>
        </p:grpSpPr>
        <p:sp>
          <p:nvSpPr>
            <p:cNvPr id="116" name="Freeform 300">
              <a:extLst>
                <a:ext uri="{FF2B5EF4-FFF2-40B4-BE49-F238E27FC236}">
                  <a16:creationId xmlns:a16="http://schemas.microsoft.com/office/drawing/2014/main" id="{EA86258C-5EE0-85CB-D532-87365901DED5}"/>
                </a:ext>
              </a:extLst>
            </p:cNvPr>
            <p:cNvSpPr>
              <a:spLocks noEditPoints="1"/>
            </p:cNvSpPr>
            <p:nvPr/>
          </p:nvSpPr>
          <p:spPr bwMode="auto">
            <a:xfrm>
              <a:off x="6994526" y="1989138"/>
              <a:ext cx="471488" cy="469900"/>
            </a:xfrm>
            <a:custGeom>
              <a:avLst/>
              <a:gdLst>
                <a:gd name="T0" fmla="*/ 17 w 344"/>
                <a:gd name="T1" fmla="*/ 327 h 344"/>
                <a:gd name="T2" fmla="*/ 328 w 344"/>
                <a:gd name="T3" fmla="*/ 327 h 344"/>
                <a:gd name="T4" fmla="*/ 328 w 344"/>
                <a:gd name="T5" fmla="*/ 17 h 344"/>
                <a:gd name="T6" fmla="*/ 17 w 344"/>
                <a:gd name="T7" fmla="*/ 17 h 344"/>
                <a:gd name="T8" fmla="*/ 17 w 344"/>
                <a:gd name="T9" fmla="*/ 327 h 344"/>
                <a:gd name="T10" fmla="*/ 344 w 344"/>
                <a:gd name="T11" fmla="*/ 344 h 344"/>
                <a:gd name="T12" fmla="*/ 0 w 344"/>
                <a:gd name="T13" fmla="*/ 344 h 344"/>
                <a:gd name="T14" fmla="*/ 0 w 344"/>
                <a:gd name="T15" fmla="*/ 0 h 344"/>
                <a:gd name="T16" fmla="*/ 344 w 344"/>
                <a:gd name="T17" fmla="*/ 0 h 344"/>
                <a:gd name="T18" fmla="*/ 344 w 344"/>
                <a:gd name="T19" fmla="*/ 34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17" y="327"/>
                  </a:moveTo>
                  <a:lnTo>
                    <a:pt x="328" y="327"/>
                  </a:lnTo>
                  <a:lnTo>
                    <a:pt x="328" y="17"/>
                  </a:lnTo>
                  <a:lnTo>
                    <a:pt x="17" y="17"/>
                  </a:lnTo>
                  <a:lnTo>
                    <a:pt x="17" y="327"/>
                  </a:lnTo>
                  <a:close/>
                  <a:moveTo>
                    <a:pt x="344" y="344"/>
                  </a:moveTo>
                  <a:lnTo>
                    <a:pt x="0" y="344"/>
                  </a:lnTo>
                  <a:lnTo>
                    <a:pt x="0" y="0"/>
                  </a:lnTo>
                  <a:lnTo>
                    <a:pt x="344" y="0"/>
                  </a:lnTo>
                  <a:lnTo>
                    <a:pt x="344" y="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17" name="Rectangle 301">
              <a:extLst>
                <a:ext uri="{FF2B5EF4-FFF2-40B4-BE49-F238E27FC236}">
                  <a16:creationId xmlns:a16="http://schemas.microsoft.com/office/drawing/2014/main" id="{931FB4FC-1381-728F-5AE1-D4C73E1986D4}"/>
                </a:ext>
              </a:extLst>
            </p:cNvPr>
            <p:cNvSpPr>
              <a:spLocks noChangeArrowheads="1"/>
            </p:cNvSpPr>
            <p:nvPr/>
          </p:nvSpPr>
          <p:spPr bwMode="auto">
            <a:xfrm>
              <a:off x="7054851" y="1943100"/>
              <a:ext cx="238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18" name="Rectangle 302">
              <a:extLst>
                <a:ext uri="{FF2B5EF4-FFF2-40B4-BE49-F238E27FC236}">
                  <a16:creationId xmlns:a16="http://schemas.microsoft.com/office/drawing/2014/main" id="{C7D8AB74-9839-EE61-261E-8C4F5109D17A}"/>
                </a:ext>
              </a:extLst>
            </p:cNvPr>
            <p:cNvSpPr>
              <a:spLocks noChangeArrowheads="1"/>
            </p:cNvSpPr>
            <p:nvPr/>
          </p:nvSpPr>
          <p:spPr bwMode="auto">
            <a:xfrm>
              <a:off x="7137401" y="1943100"/>
              <a:ext cx="222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19" name="Rectangle 303">
              <a:extLst>
                <a:ext uri="{FF2B5EF4-FFF2-40B4-BE49-F238E27FC236}">
                  <a16:creationId xmlns:a16="http://schemas.microsoft.com/office/drawing/2014/main" id="{2FFE1DAD-FA1D-DBFF-6722-40B6E6AA32CA}"/>
                </a:ext>
              </a:extLst>
            </p:cNvPr>
            <p:cNvSpPr>
              <a:spLocks noChangeArrowheads="1"/>
            </p:cNvSpPr>
            <p:nvPr/>
          </p:nvSpPr>
          <p:spPr bwMode="auto">
            <a:xfrm>
              <a:off x="7219951" y="1943100"/>
              <a:ext cx="222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20" name="Rectangle 304">
              <a:extLst>
                <a:ext uri="{FF2B5EF4-FFF2-40B4-BE49-F238E27FC236}">
                  <a16:creationId xmlns:a16="http://schemas.microsoft.com/office/drawing/2014/main" id="{218A4835-2367-54E8-07F8-E892145F77F7}"/>
                </a:ext>
              </a:extLst>
            </p:cNvPr>
            <p:cNvSpPr>
              <a:spLocks noChangeArrowheads="1"/>
            </p:cNvSpPr>
            <p:nvPr/>
          </p:nvSpPr>
          <p:spPr bwMode="auto">
            <a:xfrm>
              <a:off x="7300913" y="1943100"/>
              <a:ext cx="238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21" name="Rectangle 305">
              <a:extLst>
                <a:ext uri="{FF2B5EF4-FFF2-40B4-BE49-F238E27FC236}">
                  <a16:creationId xmlns:a16="http://schemas.microsoft.com/office/drawing/2014/main" id="{C5C7653F-BCEA-6C31-4BE8-101D8EB39DFE}"/>
                </a:ext>
              </a:extLst>
            </p:cNvPr>
            <p:cNvSpPr>
              <a:spLocks noChangeArrowheads="1"/>
            </p:cNvSpPr>
            <p:nvPr/>
          </p:nvSpPr>
          <p:spPr bwMode="auto">
            <a:xfrm>
              <a:off x="7383463" y="1943100"/>
              <a:ext cx="222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22" name="Rectangle 306">
              <a:extLst>
                <a:ext uri="{FF2B5EF4-FFF2-40B4-BE49-F238E27FC236}">
                  <a16:creationId xmlns:a16="http://schemas.microsoft.com/office/drawing/2014/main" id="{70B65815-8DA0-553E-85F3-99799E100589}"/>
                </a:ext>
              </a:extLst>
            </p:cNvPr>
            <p:cNvSpPr>
              <a:spLocks noChangeArrowheads="1"/>
            </p:cNvSpPr>
            <p:nvPr/>
          </p:nvSpPr>
          <p:spPr bwMode="auto">
            <a:xfrm>
              <a:off x="7454901" y="2049463"/>
              <a:ext cx="57150"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23" name="Rectangle 307">
              <a:extLst>
                <a:ext uri="{FF2B5EF4-FFF2-40B4-BE49-F238E27FC236}">
                  <a16:creationId xmlns:a16="http://schemas.microsoft.com/office/drawing/2014/main" id="{2EAB7158-F80E-15D2-AF1A-A4E0A2056F51}"/>
                </a:ext>
              </a:extLst>
            </p:cNvPr>
            <p:cNvSpPr>
              <a:spLocks noChangeArrowheads="1"/>
            </p:cNvSpPr>
            <p:nvPr/>
          </p:nvSpPr>
          <p:spPr bwMode="auto">
            <a:xfrm>
              <a:off x="7454901" y="2130425"/>
              <a:ext cx="5715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24" name="Rectangle 308">
              <a:extLst>
                <a:ext uri="{FF2B5EF4-FFF2-40B4-BE49-F238E27FC236}">
                  <a16:creationId xmlns:a16="http://schemas.microsoft.com/office/drawing/2014/main" id="{D8E3072B-6B62-9C9F-524E-FDD076944EE1}"/>
                </a:ext>
              </a:extLst>
            </p:cNvPr>
            <p:cNvSpPr>
              <a:spLocks noChangeArrowheads="1"/>
            </p:cNvSpPr>
            <p:nvPr/>
          </p:nvSpPr>
          <p:spPr bwMode="auto">
            <a:xfrm>
              <a:off x="7454901" y="2212975"/>
              <a:ext cx="5715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25" name="Rectangle 309">
              <a:extLst>
                <a:ext uri="{FF2B5EF4-FFF2-40B4-BE49-F238E27FC236}">
                  <a16:creationId xmlns:a16="http://schemas.microsoft.com/office/drawing/2014/main" id="{31A7C445-FCD3-73AF-F779-58B7DC7F61EA}"/>
                </a:ext>
              </a:extLst>
            </p:cNvPr>
            <p:cNvSpPr>
              <a:spLocks noChangeArrowheads="1"/>
            </p:cNvSpPr>
            <p:nvPr/>
          </p:nvSpPr>
          <p:spPr bwMode="auto">
            <a:xfrm>
              <a:off x="7454901" y="2293938"/>
              <a:ext cx="57150"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26" name="Rectangle 310">
              <a:extLst>
                <a:ext uri="{FF2B5EF4-FFF2-40B4-BE49-F238E27FC236}">
                  <a16:creationId xmlns:a16="http://schemas.microsoft.com/office/drawing/2014/main" id="{51A0A1DB-BA17-547A-D129-06E21A60853D}"/>
                </a:ext>
              </a:extLst>
            </p:cNvPr>
            <p:cNvSpPr>
              <a:spLocks noChangeArrowheads="1"/>
            </p:cNvSpPr>
            <p:nvPr/>
          </p:nvSpPr>
          <p:spPr bwMode="auto">
            <a:xfrm>
              <a:off x="7454901" y="2376488"/>
              <a:ext cx="57150"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27" name="Rectangle 311">
              <a:extLst>
                <a:ext uri="{FF2B5EF4-FFF2-40B4-BE49-F238E27FC236}">
                  <a16:creationId xmlns:a16="http://schemas.microsoft.com/office/drawing/2014/main" id="{E555AB4C-B3C2-722B-7E95-1917F4F7821A}"/>
                </a:ext>
              </a:extLst>
            </p:cNvPr>
            <p:cNvSpPr>
              <a:spLocks noChangeArrowheads="1"/>
            </p:cNvSpPr>
            <p:nvPr/>
          </p:nvSpPr>
          <p:spPr bwMode="auto">
            <a:xfrm>
              <a:off x="6950076" y="2049463"/>
              <a:ext cx="57150"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28" name="Rectangle 312">
              <a:extLst>
                <a:ext uri="{FF2B5EF4-FFF2-40B4-BE49-F238E27FC236}">
                  <a16:creationId xmlns:a16="http://schemas.microsoft.com/office/drawing/2014/main" id="{77E992E0-B33B-C97B-B6CA-3F3F7A676DAA}"/>
                </a:ext>
              </a:extLst>
            </p:cNvPr>
            <p:cNvSpPr>
              <a:spLocks noChangeArrowheads="1"/>
            </p:cNvSpPr>
            <p:nvPr/>
          </p:nvSpPr>
          <p:spPr bwMode="auto">
            <a:xfrm>
              <a:off x="6950076" y="2130425"/>
              <a:ext cx="5715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29" name="Rectangle 313">
              <a:extLst>
                <a:ext uri="{FF2B5EF4-FFF2-40B4-BE49-F238E27FC236}">
                  <a16:creationId xmlns:a16="http://schemas.microsoft.com/office/drawing/2014/main" id="{B82F8C9F-1C14-01D3-A36E-84221C80D241}"/>
                </a:ext>
              </a:extLst>
            </p:cNvPr>
            <p:cNvSpPr>
              <a:spLocks noChangeArrowheads="1"/>
            </p:cNvSpPr>
            <p:nvPr/>
          </p:nvSpPr>
          <p:spPr bwMode="auto">
            <a:xfrm>
              <a:off x="6950076" y="2212975"/>
              <a:ext cx="5715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30" name="Rectangle 314">
              <a:extLst>
                <a:ext uri="{FF2B5EF4-FFF2-40B4-BE49-F238E27FC236}">
                  <a16:creationId xmlns:a16="http://schemas.microsoft.com/office/drawing/2014/main" id="{C833EAB0-7082-FB74-C543-A01E8620722B}"/>
                </a:ext>
              </a:extLst>
            </p:cNvPr>
            <p:cNvSpPr>
              <a:spLocks noChangeArrowheads="1"/>
            </p:cNvSpPr>
            <p:nvPr/>
          </p:nvSpPr>
          <p:spPr bwMode="auto">
            <a:xfrm>
              <a:off x="6950076" y="2293938"/>
              <a:ext cx="57150"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31" name="Rectangle 315">
              <a:extLst>
                <a:ext uri="{FF2B5EF4-FFF2-40B4-BE49-F238E27FC236}">
                  <a16:creationId xmlns:a16="http://schemas.microsoft.com/office/drawing/2014/main" id="{8655F4A7-1185-8E64-42C3-A6BA041C8DE5}"/>
                </a:ext>
              </a:extLst>
            </p:cNvPr>
            <p:cNvSpPr>
              <a:spLocks noChangeArrowheads="1"/>
            </p:cNvSpPr>
            <p:nvPr/>
          </p:nvSpPr>
          <p:spPr bwMode="auto">
            <a:xfrm>
              <a:off x="6950076" y="2376488"/>
              <a:ext cx="57150"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32" name="Rectangle 316">
              <a:extLst>
                <a:ext uri="{FF2B5EF4-FFF2-40B4-BE49-F238E27FC236}">
                  <a16:creationId xmlns:a16="http://schemas.microsoft.com/office/drawing/2014/main" id="{D7691EE2-20F5-E25C-DD4F-E68B5E8397C3}"/>
                </a:ext>
              </a:extLst>
            </p:cNvPr>
            <p:cNvSpPr>
              <a:spLocks noChangeArrowheads="1"/>
            </p:cNvSpPr>
            <p:nvPr/>
          </p:nvSpPr>
          <p:spPr bwMode="auto">
            <a:xfrm>
              <a:off x="7054851" y="2449513"/>
              <a:ext cx="23813" cy="55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33" name="Rectangle 317">
              <a:extLst>
                <a:ext uri="{FF2B5EF4-FFF2-40B4-BE49-F238E27FC236}">
                  <a16:creationId xmlns:a16="http://schemas.microsoft.com/office/drawing/2014/main" id="{86D35794-3650-AAA5-622F-F4AD4EE5C76E}"/>
                </a:ext>
              </a:extLst>
            </p:cNvPr>
            <p:cNvSpPr>
              <a:spLocks noChangeArrowheads="1"/>
            </p:cNvSpPr>
            <p:nvPr/>
          </p:nvSpPr>
          <p:spPr bwMode="auto">
            <a:xfrm>
              <a:off x="7137401" y="2449513"/>
              <a:ext cx="22225" cy="55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34" name="Rectangle 318">
              <a:extLst>
                <a:ext uri="{FF2B5EF4-FFF2-40B4-BE49-F238E27FC236}">
                  <a16:creationId xmlns:a16="http://schemas.microsoft.com/office/drawing/2014/main" id="{3496C3C1-29BC-C6F6-F70B-AA7909AB4823}"/>
                </a:ext>
              </a:extLst>
            </p:cNvPr>
            <p:cNvSpPr>
              <a:spLocks noChangeArrowheads="1"/>
            </p:cNvSpPr>
            <p:nvPr/>
          </p:nvSpPr>
          <p:spPr bwMode="auto">
            <a:xfrm>
              <a:off x="7219951" y="2449513"/>
              <a:ext cx="22225" cy="55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35" name="Rectangle 319">
              <a:extLst>
                <a:ext uri="{FF2B5EF4-FFF2-40B4-BE49-F238E27FC236}">
                  <a16:creationId xmlns:a16="http://schemas.microsoft.com/office/drawing/2014/main" id="{31566B5F-A286-5054-195A-6F7E791F5EA3}"/>
                </a:ext>
              </a:extLst>
            </p:cNvPr>
            <p:cNvSpPr>
              <a:spLocks noChangeArrowheads="1"/>
            </p:cNvSpPr>
            <p:nvPr/>
          </p:nvSpPr>
          <p:spPr bwMode="auto">
            <a:xfrm>
              <a:off x="7300913" y="2449513"/>
              <a:ext cx="23813" cy="55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36" name="Rectangle 320">
              <a:extLst>
                <a:ext uri="{FF2B5EF4-FFF2-40B4-BE49-F238E27FC236}">
                  <a16:creationId xmlns:a16="http://schemas.microsoft.com/office/drawing/2014/main" id="{77D44617-E890-D1BB-588A-0893ECE27DC6}"/>
                </a:ext>
              </a:extLst>
            </p:cNvPr>
            <p:cNvSpPr>
              <a:spLocks noChangeArrowheads="1"/>
            </p:cNvSpPr>
            <p:nvPr/>
          </p:nvSpPr>
          <p:spPr bwMode="auto">
            <a:xfrm>
              <a:off x="7383463" y="2449513"/>
              <a:ext cx="22225" cy="55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sp>
          <p:nvSpPr>
            <p:cNvPr id="137" name="Freeform 321">
              <a:extLst>
                <a:ext uri="{FF2B5EF4-FFF2-40B4-BE49-F238E27FC236}">
                  <a16:creationId xmlns:a16="http://schemas.microsoft.com/office/drawing/2014/main" id="{E57D3390-6FA0-90A0-4BEA-532F4C0E32B7}"/>
                </a:ext>
              </a:extLst>
            </p:cNvPr>
            <p:cNvSpPr>
              <a:spLocks noEditPoints="1"/>
            </p:cNvSpPr>
            <p:nvPr/>
          </p:nvSpPr>
          <p:spPr bwMode="auto">
            <a:xfrm>
              <a:off x="7081838" y="2074863"/>
              <a:ext cx="296863" cy="298450"/>
            </a:xfrm>
            <a:custGeom>
              <a:avLst/>
              <a:gdLst>
                <a:gd name="T0" fmla="*/ 16 w 217"/>
                <a:gd name="T1" fmla="*/ 201 h 218"/>
                <a:gd name="T2" fmla="*/ 200 w 217"/>
                <a:gd name="T3" fmla="*/ 201 h 218"/>
                <a:gd name="T4" fmla="*/ 200 w 217"/>
                <a:gd name="T5" fmla="*/ 53 h 218"/>
                <a:gd name="T6" fmla="*/ 164 w 217"/>
                <a:gd name="T7" fmla="*/ 17 h 218"/>
                <a:gd name="T8" fmla="*/ 16 w 217"/>
                <a:gd name="T9" fmla="*/ 17 h 218"/>
                <a:gd name="T10" fmla="*/ 16 w 217"/>
                <a:gd name="T11" fmla="*/ 201 h 218"/>
                <a:gd name="T12" fmla="*/ 217 w 217"/>
                <a:gd name="T13" fmla="*/ 218 h 218"/>
                <a:gd name="T14" fmla="*/ 0 w 217"/>
                <a:gd name="T15" fmla="*/ 218 h 218"/>
                <a:gd name="T16" fmla="*/ 0 w 217"/>
                <a:gd name="T17" fmla="*/ 0 h 218"/>
                <a:gd name="T18" fmla="*/ 171 w 217"/>
                <a:gd name="T19" fmla="*/ 0 h 218"/>
                <a:gd name="T20" fmla="*/ 217 w 217"/>
                <a:gd name="T21" fmla="*/ 46 h 218"/>
                <a:gd name="T22" fmla="*/ 217 w 217"/>
                <a:gd name="T23"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18">
                  <a:moveTo>
                    <a:pt x="16" y="201"/>
                  </a:moveTo>
                  <a:lnTo>
                    <a:pt x="200" y="201"/>
                  </a:lnTo>
                  <a:lnTo>
                    <a:pt x="200" y="53"/>
                  </a:lnTo>
                  <a:lnTo>
                    <a:pt x="164" y="17"/>
                  </a:lnTo>
                  <a:lnTo>
                    <a:pt x="16" y="17"/>
                  </a:lnTo>
                  <a:lnTo>
                    <a:pt x="16" y="201"/>
                  </a:lnTo>
                  <a:close/>
                  <a:moveTo>
                    <a:pt x="217" y="218"/>
                  </a:moveTo>
                  <a:lnTo>
                    <a:pt x="0" y="218"/>
                  </a:lnTo>
                  <a:lnTo>
                    <a:pt x="0" y="0"/>
                  </a:lnTo>
                  <a:lnTo>
                    <a:pt x="171" y="0"/>
                  </a:lnTo>
                  <a:lnTo>
                    <a:pt x="217" y="46"/>
                  </a:lnTo>
                  <a:lnTo>
                    <a:pt x="217"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defRPr/>
              </a:pPr>
              <a:endParaRPr lang="de-DE" sz="1463">
                <a:solidFill>
                  <a:prstClr val="black"/>
                </a:solidFill>
                <a:latin typeface="Calibri" panose="020F0502020204030204"/>
              </a:endParaRPr>
            </a:p>
          </p:txBody>
        </p:sp>
      </p:grpSp>
      <p:pic>
        <p:nvPicPr>
          <p:cNvPr id="9" name="Grafik 8" descr="Tageskalender mit einfarbiger Füllung">
            <a:extLst>
              <a:ext uri="{FF2B5EF4-FFF2-40B4-BE49-F238E27FC236}">
                <a16:creationId xmlns:a16="http://schemas.microsoft.com/office/drawing/2014/main" id="{9FF0493D-FF95-A974-324F-C3CADBF9FE7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54396" y="3433111"/>
            <a:ext cx="624507" cy="624507"/>
          </a:xfrm>
          <a:prstGeom prst="rect">
            <a:avLst/>
          </a:prstGeom>
        </p:spPr>
      </p:pic>
      <p:pic>
        <p:nvPicPr>
          <p:cNvPr id="11" name="Grafik 10" descr="Marke Kreuz mit einfarbiger Füllung">
            <a:extLst>
              <a:ext uri="{FF2B5EF4-FFF2-40B4-BE49-F238E27FC236}">
                <a16:creationId xmlns:a16="http://schemas.microsoft.com/office/drawing/2014/main" id="{AD67B49E-48B2-2528-4963-1AB8F5D4201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66241" y="4435703"/>
            <a:ext cx="600623" cy="600623"/>
          </a:xfrm>
          <a:prstGeom prst="rect">
            <a:avLst/>
          </a:prstGeom>
        </p:spPr>
      </p:pic>
      <p:pic>
        <p:nvPicPr>
          <p:cNvPr id="15" name="Grafik 14" descr="Frau mit Baby mit einfarbiger Füllung">
            <a:extLst>
              <a:ext uri="{FF2B5EF4-FFF2-40B4-BE49-F238E27FC236}">
                <a16:creationId xmlns:a16="http://schemas.microsoft.com/office/drawing/2014/main" id="{49DD2B73-A3AB-6385-3E3E-EEF89A2B5E7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579221" y="1573656"/>
            <a:ext cx="505652" cy="505652"/>
          </a:xfrm>
          <a:prstGeom prst="rect">
            <a:avLst/>
          </a:prstGeom>
        </p:spPr>
      </p:pic>
      <p:pic>
        <p:nvPicPr>
          <p:cNvPr id="17" name="Grafik 16" descr="Schneebesen mit einfarbiger Füllung">
            <a:extLst>
              <a:ext uri="{FF2B5EF4-FFF2-40B4-BE49-F238E27FC236}">
                <a16:creationId xmlns:a16="http://schemas.microsoft.com/office/drawing/2014/main" id="{03E8FA0C-A1C7-CDDB-E0B3-51E1F4854537}"/>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6475388" y="1681875"/>
            <a:ext cx="258811" cy="258811"/>
          </a:xfrm>
          <a:prstGeom prst="rect">
            <a:avLst/>
          </a:prstGeom>
        </p:spPr>
      </p:pic>
      <p:pic>
        <p:nvPicPr>
          <p:cNvPr id="19" name="Grafik 18" descr="Sperren mit einfarbiger Füllung">
            <a:extLst>
              <a:ext uri="{FF2B5EF4-FFF2-40B4-BE49-F238E27FC236}">
                <a16:creationId xmlns:a16="http://schemas.microsoft.com/office/drawing/2014/main" id="{CCDBAEBE-A208-62C3-0B0A-052644F8538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426232" y="2490010"/>
            <a:ext cx="615933" cy="615933"/>
          </a:xfrm>
          <a:prstGeom prst="rect">
            <a:avLst/>
          </a:prstGeom>
        </p:spPr>
      </p:pic>
      <p:pic>
        <p:nvPicPr>
          <p:cNvPr id="35" name="Grafik 34" descr="Fragezeichen mit einfarbiger Füllung">
            <a:extLst>
              <a:ext uri="{FF2B5EF4-FFF2-40B4-BE49-F238E27FC236}">
                <a16:creationId xmlns:a16="http://schemas.microsoft.com/office/drawing/2014/main" id="{96EB0C0B-75E0-8774-FD4E-0DF5377D067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415366" y="3441561"/>
            <a:ext cx="616057" cy="616057"/>
          </a:xfrm>
          <a:prstGeom prst="rect">
            <a:avLst/>
          </a:prstGeom>
        </p:spPr>
      </p:pic>
      <p:pic>
        <p:nvPicPr>
          <p:cNvPr id="39" name="Grafik 38" descr="Gabelung in der Straße mit einfarbiger Füllung">
            <a:extLst>
              <a:ext uri="{FF2B5EF4-FFF2-40B4-BE49-F238E27FC236}">
                <a16:creationId xmlns:a16="http://schemas.microsoft.com/office/drawing/2014/main" id="{4590A9CE-71E4-F906-16B5-2AC4A9B7B2F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480884" y="4454660"/>
            <a:ext cx="518517" cy="518517"/>
          </a:xfrm>
          <a:prstGeom prst="rect">
            <a:avLst/>
          </a:prstGeom>
        </p:spPr>
      </p:pic>
      <p:pic>
        <p:nvPicPr>
          <p:cNvPr id="36" name="Inhaltsplatzhalter 6" descr="Bewertung 1 Stern mit einfarbiger Füllung">
            <a:extLst>
              <a:ext uri="{FF2B5EF4-FFF2-40B4-BE49-F238E27FC236}">
                <a16:creationId xmlns:a16="http://schemas.microsoft.com/office/drawing/2014/main" id="{BC680CCB-3468-BB5C-05BB-0D23CA85F7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80965" y="2400358"/>
            <a:ext cx="744392" cy="744392"/>
          </a:xfrm>
          <a:prstGeom prst="rect">
            <a:avLst/>
          </a:prstGeom>
        </p:spPr>
      </p:pic>
      <p:sp>
        <p:nvSpPr>
          <p:cNvPr id="6" name="Foliennummernplatzhalter 5">
            <a:extLst>
              <a:ext uri="{FF2B5EF4-FFF2-40B4-BE49-F238E27FC236}">
                <a16:creationId xmlns:a16="http://schemas.microsoft.com/office/drawing/2014/main" id="{19CA2658-BBD7-3396-F0E1-B6A3E2A6F6E5}"/>
              </a:ext>
            </a:extLst>
          </p:cNvPr>
          <p:cNvSpPr>
            <a:spLocks noGrp="1"/>
          </p:cNvSpPr>
          <p:nvPr>
            <p:ph type="sldNum" sz="quarter" idx="12"/>
          </p:nvPr>
        </p:nvSpPr>
        <p:spPr/>
        <p:txBody>
          <a:bodyPr/>
          <a:lstStyle/>
          <a:p>
            <a:fld id="{64647E8F-5052-4581-98D0-7C32D5A45346}" type="slidenum">
              <a:rPr lang="en-US" smtClean="0"/>
              <a:pPr/>
              <a:t>18</a:t>
            </a:fld>
            <a:endParaRPr lang="en-US"/>
          </a:p>
        </p:txBody>
      </p:sp>
      <p:sp>
        <p:nvSpPr>
          <p:cNvPr id="8" name="Inhaltsplatzhalter 14">
            <a:extLst>
              <a:ext uri="{FF2B5EF4-FFF2-40B4-BE49-F238E27FC236}">
                <a16:creationId xmlns:a16="http://schemas.microsoft.com/office/drawing/2014/main" id="{D1A2A362-2271-1374-8E4E-DB8073BF92EB}"/>
              </a:ext>
            </a:extLst>
          </p:cNvPr>
          <p:cNvSpPr txBox="1">
            <a:spLocks/>
          </p:cNvSpPr>
          <p:nvPr/>
        </p:nvSpPr>
        <p:spPr>
          <a:xfrm>
            <a:off x="6277827" y="6309000"/>
            <a:ext cx="4318737" cy="144000"/>
          </a:xfrm>
          <a:prstGeom prst="rect">
            <a:avLst/>
          </a:prstGeom>
        </p:spPr>
        <p:txBody>
          <a:bodyPr vert="horz" lIns="0" tIns="0" rIns="0" bIns="0" rtlCol="0" anchor="b">
            <a:noAutofit/>
          </a:bodyPr>
          <a:lstStyle>
            <a:lvl1pPr marL="0" indent="0" algn="r" defTabSz="742950" rtl="0" eaLnBrk="1" latinLnBrk="0" hangingPunct="1">
              <a:lnSpc>
                <a:spcPct val="100000"/>
              </a:lnSpc>
              <a:spcBef>
                <a:spcPts val="600"/>
              </a:spcBef>
              <a:buFont typeface="Wingdings" panose="05000000000000000000" pitchFamily="2" charset="2"/>
              <a:buNone/>
              <a:defRPr sz="1050" i="1" kern="1200">
                <a:solidFill>
                  <a:schemeClr val="accent3"/>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050" kern="1200">
                <a:solidFill>
                  <a:schemeClr val="accent2"/>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000" kern="1200">
                <a:solidFill>
                  <a:schemeClr val="accent2"/>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r>
              <a:rPr lang="de-DE"/>
              <a:t>DB Systel (2023)</a:t>
            </a:r>
          </a:p>
        </p:txBody>
      </p:sp>
    </p:spTree>
    <p:custDataLst>
      <p:tags r:id="rId1"/>
    </p:custDataLst>
    <p:extLst>
      <p:ext uri="{BB962C8B-B14F-4D97-AF65-F5344CB8AC3E}">
        <p14:creationId xmlns:p14="http://schemas.microsoft.com/office/powerpoint/2010/main" val="2068246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E19E97-FA7E-9EBB-5437-3BA2A5FD9766}"/>
              </a:ext>
            </a:extLst>
          </p:cNvPr>
          <p:cNvSpPr>
            <a:spLocks noGrp="1"/>
          </p:cNvSpPr>
          <p:nvPr>
            <p:ph type="title"/>
          </p:nvPr>
        </p:nvSpPr>
        <p:spPr/>
        <p:txBody>
          <a:bodyPr/>
          <a:lstStyle/>
          <a:p>
            <a:r>
              <a:rPr lang="de-DE" dirty="0"/>
              <a:t>Large Language Models basieren auf Wahrscheinlichkeiten</a:t>
            </a:r>
            <a:endParaRPr lang="en-GB" dirty="0"/>
          </a:p>
        </p:txBody>
      </p:sp>
      <p:sp>
        <p:nvSpPr>
          <p:cNvPr id="4" name="Foliennummernplatzhalter 3">
            <a:extLst>
              <a:ext uri="{FF2B5EF4-FFF2-40B4-BE49-F238E27FC236}">
                <a16:creationId xmlns:a16="http://schemas.microsoft.com/office/drawing/2014/main" id="{142C0BA0-4B53-61B3-6CFE-899ADD718250}"/>
              </a:ext>
            </a:extLst>
          </p:cNvPr>
          <p:cNvSpPr>
            <a:spLocks noGrp="1"/>
          </p:cNvSpPr>
          <p:nvPr>
            <p:ph type="sldNum" sz="quarter" idx="12"/>
          </p:nvPr>
        </p:nvSpPr>
        <p:spPr/>
        <p:txBody>
          <a:bodyPr/>
          <a:lstStyle/>
          <a:p>
            <a:fld id="{64647E8F-5052-4581-98D0-7C32D5A45346}" type="slidenum">
              <a:rPr lang="en-US" smtClean="0"/>
              <a:pPr/>
              <a:t>19</a:t>
            </a:fld>
            <a:endParaRPr lang="en-US"/>
          </a:p>
        </p:txBody>
      </p:sp>
      <p:sp>
        <p:nvSpPr>
          <p:cNvPr id="7" name="Inhaltsplatzhalter 6">
            <a:extLst>
              <a:ext uri="{FF2B5EF4-FFF2-40B4-BE49-F238E27FC236}">
                <a16:creationId xmlns:a16="http://schemas.microsoft.com/office/drawing/2014/main" id="{C01A583F-5CBC-0233-5BA2-66E2F6354F21}"/>
              </a:ext>
            </a:extLst>
          </p:cNvPr>
          <p:cNvSpPr>
            <a:spLocks noGrp="1"/>
          </p:cNvSpPr>
          <p:nvPr>
            <p:ph sz="quarter" idx="17"/>
          </p:nvPr>
        </p:nvSpPr>
        <p:spPr/>
        <p:txBody>
          <a:bodyPr/>
          <a:lstStyle/>
          <a:p>
            <a:r>
              <a:rPr lang="en-US"/>
              <a:t>© Stefan Decker, RWTH Aachen, Fraunhofer FIT</a:t>
            </a:r>
          </a:p>
        </p:txBody>
      </p:sp>
      <p:pic>
        <p:nvPicPr>
          <p:cNvPr id="8" name="Picture 8">
            <a:extLst>
              <a:ext uri="{FF2B5EF4-FFF2-40B4-BE49-F238E27FC236}">
                <a16:creationId xmlns:a16="http://schemas.microsoft.com/office/drawing/2014/main" id="{DC4D04B3-F867-444B-B2F1-07DF294B30CE}"/>
              </a:ext>
            </a:extLst>
          </p:cNvPr>
          <p:cNvPicPr>
            <a:picLocks noChangeAspect="1"/>
          </p:cNvPicPr>
          <p:nvPr/>
        </p:nvPicPr>
        <p:blipFill rotWithShape="1">
          <a:blip r:embed="rId2"/>
          <a:srcRect t="7615" b="11459"/>
          <a:stretch/>
        </p:blipFill>
        <p:spPr>
          <a:xfrm>
            <a:off x="2644775" y="1449388"/>
            <a:ext cx="6902450" cy="1573212"/>
          </a:xfrm>
          <a:prstGeom prst="rect">
            <a:avLst/>
          </a:prstGeom>
        </p:spPr>
      </p:pic>
      <p:pic>
        <p:nvPicPr>
          <p:cNvPr id="9" name="Picture 12">
            <a:extLst>
              <a:ext uri="{FF2B5EF4-FFF2-40B4-BE49-F238E27FC236}">
                <a16:creationId xmlns:a16="http://schemas.microsoft.com/office/drawing/2014/main" id="{090CA60C-E2F3-C3E5-CC16-B556129304D9}"/>
              </a:ext>
            </a:extLst>
          </p:cNvPr>
          <p:cNvPicPr>
            <a:picLocks noChangeAspect="1"/>
          </p:cNvPicPr>
          <p:nvPr/>
        </p:nvPicPr>
        <p:blipFill rotWithShape="1">
          <a:blip r:embed="rId3"/>
          <a:srcRect t="47831" b="19070"/>
          <a:stretch/>
        </p:blipFill>
        <p:spPr>
          <a:xfrm>
            <a:off x="6341419" y="4628882"/>
            <a:ext cx="4418126" cy="499562"/>
          </a:xfrm>
          <a:prstGeom prst="rect">
            <a:avLst/>
          </a:prstGeom>
        </p:spPr>
      </p:pic>
      <p:pic>
        <p:nvPicPr>
          <p:cNvPr id="10" name="Picture 8">
            <a:extLst>
              <a:ext uri="{FF2B5EF4-FFF2-40B4-BE49-F238E27FC236}">
                <a16:creationId xmlns:a16="http://schemas.microsoft.com/office/drawing/2014/main" id="{02E26D01-CFE0-3FF9-C351-DAF43F968FF3}"/>
              </a:ext>
            </a:extLst>
          </p:cNvPr>
          <p:cNvPicPr>
            <a:picLocks noChangeAspect="1"/>
          </p:cNvPicPr>
          <p:nvPr/>
        </p:nvPicPr>
        <p:blipFill rotWithShape="1">
          <a:blip r:embed="rId4"/>
          <a:srcRect t="37434"/>
          <a:stretch/>
        </p:blipFill>
        <p:spPr>
          <a:xfrm>
            <a:off x="1245114" y="3898473"/>
            <a:ext cx="4850887" cy="951273"/>
          </a:xfrm>
          <a:prstGeom prst="rect">
            <a:avLst/>
          </a:prstGeom>
        </p:spPr>
      </p:pic>
      <p:pic>
        <p:nvPicPr>
          <p:cNvPr id="11" name="Content Placeholder 6">
            <a:extLst>
              <a:ext uri="{FF2B5EF4-FFF2-40B4-BE49-F238E27FC236}">
                <a16:creationId xmlns:a16="http://schemas.microsoft.com/office/drawing/2014/main" id="{028325C6-CF8A-EF0C-B47D-7CE751207CB1}"/>
              </a:ext>
            </a:extLst>
          </p:cNvPr>
          <p:cNvPicPr>
            <a:picLocks noChangeAspect="1"/>
          </p:cNvPicPr>
          <p:nvPr/>
        </p:nvPicPr>
        <p:blipFill rotWithShape="1">
          <a:blip r:embed="rId5"/>
          <a:srcRect t="44377" b="21644"/>
          <a:stretch/>
        </p:blipFill>
        <p:spPr>
          <a:xfrm>
            <a:off x="1245114" y="3245360"/>
            <a:ext cx="4850887" cy="559438"/>
          </a:xfrm>
          <a:prstGeom prst="rect">
            <a:avLst/>
          </a:prstGeom>
        </p:spPr>
      </p:pic>
      <p:pic>
        <p:nvPicPr>
          <p:cNvPr id="12" name="Picture 10">
            <a:extLst>
              <a:ext uri="{FF2B5EF4-FFF2-40B4-BE49-F238E27FC236}">
                <a16:creationId xmlns:a16="http://schemas.microsoft.com/office/drawing/2014/main" id="{E1969D5D-8C03-B56C-B74E-D70396B731F6}"/>
              </a:ext>
            </a:extLst>
          </p:cNvPr>
          <p:cNvPicPr>
            <a:picLocks noChangeAspect="1"/>
          </p:cNvPicPr>
          <p:nvPr/>
        </p:nvPicPr>
        <p:blipFill rotWithShape="1">
          <a:blip r:embed="rId6"/>
          <a:srcRect t="64932"/>
          <a:stretch/>
        </p:blipFill>
        <p:spPr>
          <a:xfrm>
            <a:off x="1245113" y="5658339"/>
            <a:ext cx="4850887" cy="593560"/>
          </a:xfrm>
          <a:prstGeom prst="rect">
            <a:avLst/>
          </a:prstGeom>
        </p:spPr>
      </p:pic>
      <p:pic>
        <p:nvPicPr>
          <p:cNvPr id="13" name="Picture 14">
            <a:extLst>
              <a:ext uri="{FF2B5EF4-FFF2-40B4-BE49-F238E27FC236}">
                <a16:creationId xmlns:a16="http://schemas.microsoft.com/office/drawing/2014/main" id="{0720B491-C207-7D27-7B06-B656CAE6E152}"/>
              </a:ext>
            </a:extLst>
          </p:cNvPr>
          <p:cNvPicPr>
            <a:picLocks noChangeAspect="1"/>
          </p:cNvPicPr>
          <p:nvPr/>
        </p:nvPicPr>
        <p:blipFill>
          <a:blip r:embed="rId7"/>
          <a:stretch>
            <a:fillRect/>
          </a:stretch>
        </p:blipFill>
        <p:spPr>
          <a:xfrm>
            <a:off x="1245114" y="4943420"/>
            <a:ext cx="4850887" cy="621245"/>
          </a:xfrm>
          <a:prstGeom prst="rect">
            <a:avLst/>
          </a:prstGeom>
        </p:spPr>
      </p:pic>
      <p:pic>
        <p:nvPicPr>
          <p:cNvPr id="14" name="Picture 16">
            <a:extLst>
              <a:ext uri="{FF2B5EF4-FFF2-40B4-BE49-F238E27FC236}">
                <a16:creationId xmlns:a16="http://schemas.microsoft.com/office/drawing/2014/main" id="{FDE68078-0F4B-7493-F954-C898B0280845}"/>
              </a:ext>
            </a:extLst>
          </p:cNvPr>
          <p:cNvPicPr>
            <a:picLocks noChangeAspect="1"/>
          </p:cNvPicPr>
          <p:nvPr/>
        </p:nvPicPr>
        <p:blipFill rotWithShape="1">
          <a:blip r:embed="rId8"/>
          <a:srcRect b="41314"/>
          <a:stretch/>
        </p:blipFill>
        <p:spPr>
          <a:xfrm>
            <a:off x="6341419" y="5167508"/>
            <a:ext cx="4418126" cy="507773"/>
          </a:xfrm>
          <a:prstGeom prst="rect">
            <a:avLst/>
          </a:prstGeom>
        </p:spPr>
      </p:pic>
      <p:pic>
        <p:nvPicPr>
          <p:cNvPr id="15" name="Picture 18">
            <a:extLst>
              <a:ext uri="{FF2B5EF4-FFF2-40B4-BE49-F238E27FC236}">
                <a16:creationId xmlns:a16="http://schemas.microsoft.com/office/drawing/2014/main" id="{8E2EF942-E3DD-83F2-6E9A-C49F712329F5}"/>
              </a:ext>
            </a:extLst>
          </p:cNvPr>
          <p:cNvPicPr>
            <a:picLocks noChangeAspect="1"/>
          </p:cNvPicPr>
          <p:nvPr/>
        </p:nvPicPr>
        <p:blipFill>
          <a:blip r:embed="rId9"/>
          <a:stretch>
            <a:fillRect/>
          </a:stretch>
        </p:blipFill>
        <p:spPr>
          <a:xfrm>
            <a:off x="6341419" y="3245361"/>
            <a:ext cx="4418126" cy="1344459"/>
          </a:xfrm>
          <a:prstGeom prst="rect">
            <a:avLst/>
          </a:prstGeom>
        </p:spPr>
      </p:pic>
      <p:pic>
        <p:nvPicPr>
          <p:cNvPr id="16" name="Picture 20">
            <a:extLst>
              <a:ext uri="{FF2B5EF4-FFF2-40B4-BE49-F238E27FC236}">
                <a16:creationId xmlns:a16="http://schemas.microsoft.com/office/drawing/2014/main" id="{59FE78B1-363A-3090-3A5B-16C5619CE6D1}"/>
              </a:ext>
            </a:extLst>
          </p:cNvPr>
          <p:cNvPicPr>
            <a:picLocks noChangeAspect="1"/>
          </p:cNvPicPr>
          <p:nvPr/>
        </p:nvPicPr>
        <p:blipFill>
          <a:blip r:embed="rId10"/>
          <a:stretch>
            <a:fillRect/>
          </a:stretch>
        </p:blipFill>
        <p:spPr>
          <a:xfrm>
            <a:off x="6341419" y="5714343"/>
            <a:ext cx="4418125" cy="459863"/>
          </a:xfrm>
          <a:prstGeom prst="rect">
            <a:avLst/>
          </a:prstGeom>
        </p:spPr>
      </p:pic>
      <p:sp>
        <p:nvSpPr>
          <p:cNvPr id="17" name="Textfeld 16">
            <a:extLst>
              <a:ext uri="{FF2B5EF4-FFF2-40B4-BE49-F238E27FC236}">
                <a16:creationId xmlns:a16="http://schemas.microsoft.com/office/drawing/2014/main" id="{385452B9-B1A7-BE17-3663-4C7E01F8F82D}"/>
              </a:ext>
            </a:extLst>
          </p:cNvPr>
          <p:cNvSpPr txBox="1"/>
          <p:nvPr/>
        </p:nvSpPr>
        <p:spPr>
          <a:xfrm>
            <a:off x="1596563" y="1445359"/>
            <a:ext cx="9000000" cy="461263"/>
          </a:xfrm>
          <a:prstGeom prst="rect">
            <a:avLst/>
          </a:prstGeom>
          <a:solidFill>
            <a:schemeClr val="bg1">
              <a:lumMod val="95000"/>
            </a:schemeClr>
          </a:solidFill>
        </p:spPr>
        <p:txBody>
          <a:bodyPr vert="horz" wrap="square" lIns="36000" tIns="36000" rIns="36000" bIns="36000" rtlCol="0" anchor="ctr">
            <a:noAutofit/>
          </a:bodyPr>
          <a:lstStyle/>
          <a:p>
            <a:pPr lvl="1"/>
            <a:r>
              <a:rPr lang="de-DE" sz="1400">
                <a:solidFill>
                  <a:srgbClr val="4B4B4B"/>
                </a:solidFill>
                <a:latin typeface="Courier New" panose="02070309020205020404" pitchFamily="49" charset="0"/>
                <a:cs typeface="Courier New" panose="02070309020205020404" pitchFamily="49" charset="0"/>
              </a:rPr>
              <a:t>Vervollständige: Angela flog nach</a:t>
            </a:r>
          </a:p>
        </p:txBody>
      </p:sp>
      <p:sp>
        <p:nvSpPr>
          <p:cNvPr id="18" name="Rechteck 7">
            <a:extLst>
              <a:ext uri="{FF2B5EF4-FFF2-40B4-BE49-F238E27FC236}">
                <a16:creationId xmlns:a16="http://schemas.microsoft.com/office/drawing/2014/main" id="{B43D7D97-3025-BE28-B1B5-6F6FCB50AE41}"/>
              </a:ext>
            </a:extLst>
          </p:cNvPr>
          <p:cNvSpPr/>
          <p:nvPr/>
        </p:nvSpPr>
        <p:spPr bwMode="auto">
          <a:xfrm>
            <a:off x="12422505" y="0"/>
            <a:ext cx="2209800" cy="1619250"/>
          </a:xfrm>
          <a:prstGeom prst="rect">
            <a:avLst/>
          </a:prstGeom>
          <a:solidFill>
            <a:schemeClr val="bg2"/>
          </a:solidFill>
          <a:ln w="12700" cap="flat" cmpd="sng" algn="ctr">
            <a:solidFill>
              <a:srgbClr val="C0C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01713" fontAlgn="base">
              <a:spcBef>
                <a:spcPct val="0"/>
              </a:spcBef>
              <a:spcAft>
                <a:spcPct val="0"/>
              </a:spcAft>
            </a:pPr>
            <a:r>
              <a:rPr lang="de-DE" sz="800">
                <a:latin typeface="Trebuchet MS" pitchFamily="34" charset="0"/>
              </a:rPr>
              <a:t>Quellen:</a:t>
            </a:r>
          </a:p>
          <a:p>
            <a:pPr defTabSz="1001713" fontAlgn="base">
              <a:spcBef>
                <a:spcPct val="0"/>
              </a:spcBef>
              <a:spcAft>
                <a:spcPct val="0"/>
              </a:spcAft>
            </a:pPr>
            <a:endParaRPr lang="de-DE" sz="800">
              <a:latin typeface="Trebuchet MS" pitchFamily="34" charset="0"/>
            </a:endParaRPr>
          </a:p>
        </p:txBody>
      </p:sp>
    </p:spTree>
    <p:extLst>
      <p:ext uri="{BB962C8B-B14F-4D97-AF65-F5344CB8AC3E}">
        <p14:creationId xmlns:p14="http://schemas.microsoft.com/office/powerpoint/2010/main" val="12600722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9C6091-23E4-471E-8000-B02C6B492BAF}"/>
              </a:ext>
            </a:extLst>
          </p:cNvPr>
          <p:cNvSpPr>
            <a:spLocks noGrp="1"/>
          </p:cNvSpPr>
          <p:nvPr>
            <p:ph type="title"/>
          </p:nvPr>
        </p:nvSpPr>
        <p:spPr>
          <a:xfrm>
            <a:off x="228600" y="238996"/>
            <a:ext cx="10705155" cy="769441"/>
          </a:xfrm>
        </p:spPr>
        <p:txBody>
          <a:bodyPr/>
          <a:lstStyle/>
          <a:p>
            <a:r>
              <a:rPr lang="de-DE" sz="2600" dirty="0"/>
              <a:t>Vorstellung Prof. Dr. Agnes Koschmider</a:t>
            </a:r>
            <a:br>
              <a:rPr lang="de-DE" sz="2600" dirty="0"/>
            </a:br>
            <a:r>
              <a:rPr lang="de-DE" b="0" dirty="0"/>
              <a:t>Professorin für Wirtschaftsinformatik</a:t>
            </a:r>
          </a:p>
        </p:txBody>
      </p:sp>
      <p:sp>
        <p:nvSpPr>
          <p:cNvPr id="10" name="Textfeld 9">
            <a:extLst>
              <a:ext uri="{FF2B5EF4-FFF2-40B4-BE49-F238E27FC236}">
                <a16:creationId xmlns:a16="http://schemas.microsoft.com/office/drawing/2014/main" id="{F56891C5-6A73-4FD2-AE01-4803754AAEBD}"/>
              </a:ext>
            </a:extLst>
          </p:cNvPr>
          <p:cNvSpPr txBox="1">
            <a:spLocks noChangeArrowheads="1"/>
          </p:cNvSpPr>
          <p:nvPr/>
        </p:nvSpPr>
        <p:spPr bwMode="auto">
          <a:xfrm>
            <a:off x="3630526" y="1462393"/>
            <a:ext cx="7019870" cy="3877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eaLnBrk="1" hangingPunct="1"/>
            <a:r>
              <a:rPr lang="de-DE" altLang="de-DE" sz="2040" b="1" dirty="0"/>
              <a:t>Seit 09/2022 </a:t>
            </a:r>
            <a:br>
              <a:rPr lang="de-DE" altLang="de-DE" sz="2040" dirty="0"/>
            </a:br>
            <a:r>
              <a:rPr lang="de-DE" altLang="de-DE" sz="2040" dirty="0"/>
              <a:t>Professorin für Wirtschaftsinformatik und </a:t>
            </a:r>
            <a:r>
              <a:rPr lang="de-DE" altLang="de-DE" sz="2040" dirty="0" err="1"/>
              <a:t>Process</a:t>
            </a:r>
            <a:r>
              <a:rPr lang="de-DE" altLang="de-DE" sz="2040" dirty="0"/>
              <a:t> Analytics</a:t>
            </a:r>
            <a:br>
              <a:rPr lang="de-DE" altLang="de-DE" sz="2040" dirty="0"/>
            </a:br>
            <a:r>
              <a:rPr lang="de-DE" altLang="de-DE" sz="2040" dirty="0"/>
              <a:t>Universität Bayreuth</a:t>
            </a:r>
          </a:p>
          <a:p>
            <a:pPr eaLnBrk="1" hangingPunct="1"/>
            <a:endParaRPr lang="de-DE" altLang="de-DE" sz="2040" dirty="0"/>
          </a:p>
          <a:p>
            <a:pPr eaLnBrk="1" hangingPunct="1"/>
            <a:r>
              <a:rPr lang="de-DE" altLang="de-DE" sz="2040" b="1" dirty="0"/>
              <a:t>05/2019-08/2022</a:t>
            </a:r>
          </a:p>
          <a:p>
            <a:pPr eaLnBrk="1" hangingPunct="1"/>
            <a:r>
              <a:rPr lang="de-DE" altLang="de-DE" sz="2040" dirty="0"/>
              <a:t>Professorin für Wirtschaftsinformatik (</a:t>
            </a:r>
            <a:r>
              <a:rPr lang="de-DE" altLang="de-DE" sz="2040" dirty="0" err="1"/>
              <a:t>Process</a:t>
            </a:r>
            <a:r>
              <a:rPr lang="de-DE" altLang="de-DE" sz="2040" dirty="0"/>
              <a:t> Analytics)</a:t>
            </a:r>
          </a:p>
          <a:p>
            <a:pPr eaLnBrk="1" hangingPunct="1"/>
            <a:r>
              <a:rPr lang="de-DE" altLang="de-DE" sz="2040" dirty="0"/>
              <a:t>Universität Kiel</a:t>
            </a:r>
          </a:p>
          <a:p>
            <a:pPr eaLnBrk="1" hangingPunct="1"/>
            <a:endParaRPr lang="de-DE" altLang="de-DE" sz="2040" dirty="0"/>
          </a:p>
          <a:p>
            <a:pPr eaLnBrk="1" hangingPunct="1"/>
            <a:r>
              <a:rPr lang="de-DE" altLang="de-DE" sz="2040" b="1" dirty="0"/>
              <a:t>Ausbildung</a:t>
            </a:r>
          </a:p>
          <a:p>
            <a:pPr eaLnBrk="1" hangingPunct="1"/>
            <a:r>
              <a:rPr lang="de-DE" altLang="de-DE" sz="2040" dirty="0"/>
              <a:t>Habilitation, Angewandte Informatik, KIT</a:t>
            </a:r>
          </a:p>
          <a:p>
            <a:r>
              <a:rPr lang="de-DE" altLang="de-DE" sz="2040" dirty="0"/>
              <a:t>Promotion, KIT</a:t>
            </a:r>
          </a:p>
          <a:p>
            <a:pPr eaLnBrk="1" hangingPunct="1"/>
            <a:endParaRPr lang="de-DE" altLang="de-DE" sz="2160" dirty="0"/>
          </a:p>
        </p:txBody>
      </p:sp>
      <p:pic>
        <p:nvPicPr>
          <p:cNvPr id="11" name="Grafik 7">
            <a:extLst>
              <a:ext uri="{FF2B5EF4-FFF2-40B4-BE49-F238E27FC236}">
                <a16:creationId xmlns:a16="http://schemas.microsoft.com/office/drawing/2014/main" id="{1E2DB79A-3003-440E-8EEF-8513E9DDBE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10643" y="5018017"/>
            <a:ext cx="1386236" cy="1386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9">
            <a:extLst>
              <a:ext uri="{FF2B5EF4-FFF2-40B4-BE49-F238E27FC236}">
                <a16:creationId xmlns:a16="http://schemas.microsoft.com/office/drawing/2014/main" id="{D1D59C15-82D9-483D-B1C9-7A36473E84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1510" y="5268983"/>
            <a:ext cx="1207770" cy="1207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Grafik 11">
            <a:extLst>
              <a:ext uri="{FF2B5EF4-FFF2-40B4-BE49-F238E27FC236}">
                <a16:creationId xmlns:a16="http://schemas.microsoft.com/office/drawing/2014/main" id="{0C81A406-A278-4FB5-B0BA-A8927EEFA4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53411" y="5520610"/>
            <a:ext cx="2202180" cy="773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13">
            <a:extLst>
              <a:ext uri="{FF2B5EF4-FFF2-40B4-BE49-F238E27FC236}">
                <a16:creationId xmlns:a16="http://schemas.microsoft.com/office/drawing/2014/main" id="{D863BEE8-2754-4E92-A4F6-5533B3828B8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8476" y="5277664"/>
            <a:ext cx="1207770" cy="1207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Grafik 15">
            <a:extLst>
              <a:ext uri="{FF2B5EF4-FFF2-40B4-BE49-F238E27FC236}">
                <a16:creationId xmlns:a16="http://schemas.microsoft.com/office/drawing/2014/main" id="{743A0478-5B60-4045-BB45-2C7FC824FE2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94537" y="5173653"/>
            <a:ext cx="1345034" cy="1209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Grafik 15">
            <a:extLst>
              <a:ext uri="{FF2B5EF4-FFF2-40B4-BE49-F238E27FC236}">
                <a16:creationId xmlns:a16="http://schemas.microsoft.com/office/drawing/2014/main" id="{4648571B-E798-4BB5-9D42-08561135003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2000" y="1790325"/>
            <a:ext cx="2207585" cy="2493085"/>
          </a:xfrm>
          <a:prstGeom prst="rect">
            <a:avLst/>
          </a:prstGeom>
        </p:spPr>
      </p:pic>
      <p:sp>
        <p:nvSpPr>
          <p:cNvPr id="17" name="Textfeld 16">
            <a:extLst>
              <a:ext uri="{FF2B5EF4-FFF2-40B4-BE49-F238E27FC236}">
                <a16:creationId xmlns:a16="http://schemas.microsoft.com/office/drawing/2014/main" id="{82149102-ADA8-4C14-B130-62AA078896F5}"/>
              </a:ext>
            </a:extLst>
          </p:cNvPr>
          <p:cNvSpPr txBox="1"/>
          <p:nvPr/>
        </p:nvSpPr>
        <p:spPr>
          <a:xfrm>
            <a:off x="609601" y="5065298"/>
            <a:ext cx="2736005" cy="406265"/>
          </a:xfrm>
          <a:prstGeom prst="rect">
            <a:avLst/>
          </a:prstGeom>
          <a:noFill/>
        </p:spPr>
        <p:txBody>
          <a:bodyPr wrap="none" rtlCol="0">
            <a:spAutoFit/>
          </a:bodyPr>
          <a:lstStyle/>
          <a:p>
            <a:r>
              <a:rPr lang="de-DE" altLang="de-DE" sz="2040" dirty="0"/>
              <a:t>Forschungsaufenthalte </a:t>
            </a:r>
          </a:p>
        </p:txBody>
      </p:sp>
      <p:sp>
        <p:nvSpPr>
          <p:cNvPr id="3" name="Footer Placeholder 2">
            <a:extLst>
              <a:ext uri="{FF2B5EF4-FFF2-40B4-BE49-F238E27FC236}">
                <a16:creationId xmlns:a16="http://schemas.microsoft.com/office/drawing/2014/main" id="{F75E7F30-FE93-4E0A-83D1-C84C73FC5BAE}"/>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
        <p:nvSpPr>
          <p:cNvPr id="5" name="Slide Number Placeholder 4">
            <a:extLst>
              <a:ext uri="{FF2B5EF4-FFF2-40B4-BE49-F238E27FC236}">
                <a16:creationId xmlns:a16="http://schemas.microsoft.com/office/drawing/2014/main" id="{9D33776E-3606-4B7D-B52C-D043B13EEC65}"/>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2</a:t>
            </a:fld>
            <a:r>
              <a:rPr lang="de-DE" spc="-10" dirty="0"/>
              <a:t> • </a:t>
            </a:r>
            <a:r>
              <a:rPr lang="de-DE" spc="-5" dirty="0"/>
              <a:t>Prof. </a:t>
            </a:r>
            <a:r>
              <a:rPr lang="de-DE" spc="-10" dirty="0"/>
              <a:t>Dr. Agnes Koschmider • Generative KI</a:t>
            </a:r>
          </a:p>
        </p:txBody>
      </p:sp>
    </p:spTree>
    <p:extLst>
      <p:ext uri="{BB962C8B-B14F-4D97-AF65-F5344CB8AC3E}">
        <p14:creationId xmlns:p14="http://schemas.microsoft.com/office/powerpoint/2010/main" val="35392462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784F24-6E22-29A0-57A2-7ED5A82C19AA}"/>
              </a:ext>
            </a:extLst>
          </p:cNvPr>
          <p:cNvSpPr>
            <a:spLocks noGrp="1"/>
          </p:cNvSpPr>
          <p:nvPr>
            <p:ph type="title"/>
          </p:nvPr>
        </p:nvSpPr>
        <p:spPr/>
        <p:txBody>
          <a:bodyPr/>
          <a:lstStyle/>
          <a:p>
            <a:r>
              <a:rPr lang="de-DE"/>
              <a:t>Das LLM antwortet nicht auf jede Frage …</a:t>
            </a:r>
            <a:br>
              <a:rPr lang="de-DE"/>
            </a:br>
            <a:r>
              <a:rPr lang="de-DE"/>
              <a:t>… aber es lässt sich täuschen </a:t>
            </a:r>
            <a:endParaRPr lang="en-GB"/>
          </a:p>
        </p:txBody>
      </p:sp>
      <p:sp>
        <p:nvSpPr>
          <p:cNvPr id="4" name="Foliennummernplatzhalter 3">
            <a:extLst>
              <a:ext uri="{FF2B5EF4-FFF2-40B4-BE49-F238E27FC236}">
                <a16:creationId xmlns:a16="http://schemas.microsoft.com/office/drawing/2014/main" id="{65F0B175-9E45-C038-200F-374747F86FC7}"/>
              </a:ext>
            </a:extLst>
          </p:cNvPr>
          <p:cNvSpPr>
            <a:spLocks noGrp="1"/>
          </p:cNvSpPr>
          <p:nvPr>
            <p:ph type="sldNum" sz="quarter" idx="12"/>
          </p:nvPr>
        </p:nvSpPr>
        <p:spPr/>
        <p:txBody>
          <a:bodyPr/>
          <a:lstStyle/>
          <a:p>
            <a:fld id="{64647E8F-5052-4581-98D0-7C32D5A45346}" type="slidenum">
              <a:rPr lang="en-US" smtClean="0"/>
              <a:pPr/>
              <a:t>20</a:t>
            </a:fld>
            <a:endParaRPr lang="en-US"/>
          </a:p>
        </p:txBody>
      </p:sp>
      <p:sp>
        <p:nvSpPr>
          <p:cNvPr id="9" name="Inhaltsplatzhalter 8">
            <a:extLst>
              <a:ext uri="{FF2B5EF4-FFF2-40B4-BE49-F238E27FC236}">
                <a16:creationId xmlns:a16="http://schemas.microsoft.com/office/drawing/2014/main" id="{18994FA6-75B5-BCA3-83BC-C9DE32937D8F}"/>
              </a:ext>
            </a:extLst>
          </p:cNvPr>
          <p:cNvSpPr>
            <a:spLocks noGrp="1"/>
          </p:cNvSpPr>
          <p:nvPr>
            <p:ph sz="quarter" idx="16"/>
          </p:nvPr>
        </p:nvSpPr>
        <p:spPr/>
        <p:txBody>
          <a:bodyPr/>
          <a:lstStyle/>
          <a:p>
            <a:endParaRPr lang="en-GB"/>
          </a:p>
        </p:txBody>
      </p:sp>
      <p:sp>
        <p:nvSpPr>
          <p:cNvPr id="10" name="Inhaltsplatzhalter 9">
            <a:extLst>
              <a:ext uri="{FF2B5EF4-FFF2-40B4-BE49-F238E27FC236}">
                <a16:creationId xmlns:a16="http://schemas.microsoft.com/office/drawing/2014/main" id="{20597F9C-4CC8-E5B3-460D-2716206578F2}"/>
              </a:ext>
            </a:extLst>
          </p:cNvPr>
          <p:cNvSpPr>
            <a:spLocks noGrp="1"/>
          </p:cNvSpPr>
          <p:nvPr>
            <p:ph sz="quarter" idx="17"/>
          </p:nvPr>
        </p:nvSpPr>
        <p:spPr/>
        <p:txBody>
          <a:bodyPr/>
          <a:lstStyle/>
          <a:p>
            <a:r>
              <a:rPr lang="de-DE"/>
              <a:t>Generative AI (2023)</a:t>
            </a:r>
          </a:p>
        </p:txBody>
      </p:sp>
      <p:sp>
        <p:nvSpPr>
          <p:cNvPr id="11" name="Inhaltsplatzhalter 10">
            <a:extLst>
              <a:ext uri="{FF2B5EF4-FFF2-40B4-BE49-F238E27FC236}">
                <a16:creationId xmlns:a16="http://schemas.microsoft.com/office/drawing/2014/main" id="{3A0A3A8F-029A-9A86-86D2-ABF5B9943D4B}"/>
              </a:ext>
            </a:extLst>
          </p:cNvPr>
          <p:cNvSpPr>
            <a:spLocks noGrp="1"/>
          </p:cNvSpPr>
          <p:nvPr>
            <p:ph sz="quarter" idx="18"/>
          </p:nvPr>
        </p:nvSpPr>
        <p:spPr>
          <a:xfrm>
            <a:off x="550800" y="6200993"/>
            <a:ext cx="5315369" cy="144007"/>
          </a:xfrm>
        </p:spPr>
        <p:txBody>
          <a:bodyPr/>
          <a:lstStyle/>
          <a:p>
            <a:r>
              <a:rPr lang="en-US"/>
              <a:t>© Stefan Decker, RWTH Aachen, Fraunhofer FIT</a:t>
            </a:r>
          </a:p>
        </p:txBody>
      </p:sp>
      <p:pic>
        <p:nvPicPr>
          <p:cNvPr id="12" name="Picture 6">
            <a:extLst>
              <a:ext uri="{FF2B5EF4-FFF2-40B4-BE49-F238E27FC236}">
                <a16:creationId xmlns:a16="http://schemas.microsoft.com/office/drawing/2014/main" id="{7065A77E-FD21-E26F-8C98-0A54C4248654}"/>
              </a:ext>
            </a:extLst>
          </p:cNvPr>
          <p:cNvPicPr>
            <a:picLocks noChangeAspect="1"/>
          </p:cNvPicPr>
          <p:nvPr/>
        </p:nvPicPr>
        <p:blipFill rotWithShape="1">
          <a:blip r:embed="rId3"/>
          <a:srcRect l="4380" t="5023" r="9560" b="11260"/>
          <a:stretch/>
        </p:blipFill>
        <p:spPr>
          <a:xfrm>
            <a:off x="1595439" y="1449389"/>
            <a:ext cx="4500562" cy="1823847"/>
          </a:xfrm>
          <a:prstGeom prst="rect">
            <a:avLst/>
          </a:prstGeom>
        </p:spPr>
      </p:pic>
      <p:pic>
        <p:nvPicPr>
          <p:cNvPr id="13" name="Picture 2" descr="Keine alternative Textbeschreibung für dieses Bild vorhanden">
            <a:extLst>
              <a:ext uri="{FF2B5EF4-FFF2-40B4-BE49-F238E27FC236}">
                <a16:creationId xmlns:a16="http://schemas.microsoft.com/office/drawing/2014/main" id="{3EE4AF8E-F4D3-1FAA-8778-7E225877EE8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277825" y="1453261"/>
            <a:ext cx="4327748" cy="181997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a:extLst>
              <a:ext uri="{FF2B5EF4-FFF2-40B4-BE49-F238E27FC236}">
                <a16:creationId xmlns:a16="http://schemas.microsoft.com/office/drawing/2014/main" id="{E31EB282-6E72-1B51-22B7-D953CD34FD57}"/>
              </a:ext>
            </a:extLst>
          </p:cNvPr>
          <p:cNvPicPr>
            <a:picLocks noChangeAspect="1"/>
          </p:cNvPicPr>
          <p:nvPr/>
        </p:nvPicPr>
        <p:blipFill rotWithShape="1">
          <a:blip r:embed="rId5"/>
          <a:srcRect l="3193" t="1702" r="8530" b="14393"/>
          <a:stretch/>
        </p:blipFill>
        <p:spPr>
          <a:xfrm>
            <a:off x="1603268" y="3325468"/>
            <a:ext cx="4500563" cy="2875308"/>
          </a:xfrm>
          <a:prstGeom prst="rect">
            <a:avLst/>
          </a:prstGeom>
        </p:spPr>
      </p:pic>
      <p:pic>
        <p:nvPicPr>
          <p:cNvPr id="15" name="Picture 2" descr="Keine alternative Textbeschreibung für dieses Bild vorhanden">
            <a:extLst>
              <a:ext uri="{FF2B5EF4-FFF2-40B4-BE49-F238E27FC236}">
                <a16:creationId xmlns:a16="http://schemas.microsoft.com/office/drawing/2014/main" id="{815AB981-4B5A-109C-80A0-1C8F35FB242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6277825" y="3349150"/>
            <a:ext cx="4318175" cy="2851626"/>
          </a:xfrm>
          <a:prstGeom prst="rect">
            <a:avLst/>
          </a:prstGeom>
          <a:noFill/>
          <a:extLst>
            <a:ext uri="{909E8E84-426E-40DD-AFC4-6F175D3DCCD1}">
              <a14:hiddenFill xmlns:a14="http://schemas.microsoft.com/office/drawing/2010/main">
                <a:solidFill>
                  <a:srgbClr val="FFFFFF"/>
                </a:solidFill>
              </a14:hiddenFill>
            </a:ext>
          </a:extLst>
        </p:spPr>
      </p:pic>
      <p:sp>
        <p:nvSpPr>
          <p:cNvPr id="16" name="Rechteck 15">
            <a:extLst>
              <a:ext uri="{FF2B5EF4-FFF2-40B4-BE49-F238E27FC236}">
                <a16:creationId xmlns:a16="http://schemas.microsoft.com/office/drawing/2014/main" id="{9374E2C2-6AB7-7612-1238-4DA19C887B98}"/>
              </a:ext>
            </a:extLst>
          </p:cNvPr>
          <p:cNvSpPr/>
          <p:nvPr/>
        </p:nvSpPr>
        <p:spPr>
          <a:xfrm>
            <a:off x="6757989" y="5050632"/>
            <a:ext cx="1157287" cy="1150145"/>
          </a:xfrm>
          <a:prstGeom prst="rect">
            <a:avLst/>
          </a:prstGeom>
          <a:pattFill prst="lgCheck">
            <a:fgClr>
              <a:srgbClr val="444653"/>
            </a:fgClr>
            <a:bgClr>
              <a:schemeClr val="bg1">
                <a:lumMod val="75000"/>
              </a:schemeClr>
            </a:bgClr>
          </a:pattFill>
          <a:ln>
            <a:noFill/>
          </a:ln>
          <a:effectLst>
            <a:reflection blurRad="762000" stA="45000" endPos="65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F6B87825-F455-DC73-84E2-B349CDA2BC44}"/>
              </a:ext>
            </a:extLst>
          </p:cNvPr>
          <p:cNvSpPr/>
          <p:nvPr/>
        </p:nvSpPr>
        <p:spPr>
          <a:xfrm>
            <a:off x="1975531" y="4905490"/>
            <a:ext cx="4051526" cy="834911"/>
          </a:xfrm>
          <a:prstGeom prst="rect">
            <a:avLst/>
          </a:prstGeom>
          <a:pattFill prst="lgCheck">
            <a:fgClr>
              <a:srgbClr val="BFBFBF"/>
            </a:fgClr>
            <a:bgClr>
              <a:srgbClr val="F7F7F8"/>
            </a:bgClr>
          </a:pattFill>
          <a:ln>
            <a:noFill/>
          </a:ln>
          <a:effectLst>
            <a:reflection blurRad="762000" stA="45000" endPos="65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81A25B1-8589-637E-F687-AA7137B5F3C1}"/>
              </a:ext>
            </a:extLst>
          </p:cNvPr>
          <p:cNvSpPr/>
          <p:nvPr/>
        </p:nvSpPr>
        <p:spPr>
          <a:xfrm>
            <a:off x="1595439" y="5203372"/>
            <a:ext cx="8993295" cy="997404"/>
          </a:xfrm>
          <a:prstGeom prst="rect">
            <a:avLst/>
          </a:prstGeom>
          <a:gradFill>
            <a:gsLst>
              <a:gs pos="0">
                <a:schemeClr val="bg1">
                  <a:alpha val="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260794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E87F97-A783-D8E1-3BD2-FB85B36BF47F}"/>
              </a:ext>
            </a:extLst>
          </p:cNvPr>
          <p:cNvSpPr>
            <a:spLocks noGrp="1"/>
          </p:cNvSpPr>
          <p:nvPr>
            <p:ph type="title"/>
          </p:nvPr>
        </p:nvSpPr>
        <p:spPr/>
        <p:txBody>
          <a:bodyPr/>
          <a:lstStyle/>
          <a:p>
            <a:br>
              <a:rPr lang="de-DE" dirty="0"/>
            </a:br>
            <a:r>
              <a:rPr lang="de-DE" dirty="0"/>
              <a:t>Generelle Guidelines für Prompt Engineering</a:t>
            </a:r>
          </a:p>
        </p:txBody>
      </p:sp>
      <p:sp>
        <p:nvSpPr>
          <p:cNvPr id="10" name="Foliennummernplatzhalter 3">
            <a:extLst>
              <a:ext uri="{FF2B5EF4-FFF2-40B4-BE49-F238E27FC236}">
                <a16:creationId xmlns:a16="http://schemas.microsoft.com/office/drawing/2014/main" id="{6DF2DBF4-6AB0-701B-E4DE-A310C0811D89}"/>
              </a:ext>
            </a:extLst>
          </p:cNvPr>
          <p:cNvSpPr>
            <a:spLocks noGrp="1"/>
          </p:cNvSpPr>
          <p:nvPr>
            <p:ph type="sldNum" sz="quarter" idx="12"/>
          </p:nvPr>
        </p:nvSpPr>
        <p:spPr>
          <a:xfrm>
            <a:off x="11334000" y="6584720"/>
            <a:ext cx="304800" cy="139606"/>
          </a:xfrm>
        </p:spPr>
        <p:txBody>
          <a:bodyPr/>
          <a:lstStyle/>
          <a:p>
            <a:fld id="{64647E8F-5052-4581-98D0-7C32D5A45346}" type="slidenum">
              <a:rPr lang="en-US" smtClean="0"/>
              <a:pPr/>
              <a:t>21</a:t>
            </a:fld>
            <a:endParaRPr lang="en-US"/>
          </a:p>
        </p:txBody>
      </p:sp>
      <p:sp>
        <p:nvSpPr>
          <p:cNvPr id="3" name="Inhaltsplatzhalter 6">
            <a:extLst>
              <a:ext uri="{FF2B5EF4-FFF2-40B4-BE49-F238E27FC236}">
                <a16:creationId xmlns:a16="http://schemas.microsoft.com/office/drawing/2014/main" id="{F05455BE-D63E-0DB4-EC60-BA9DC04638E0}"/>
              </a:ext>
            </a:extLst>
          </p:cNvPr>
          <p:cNvSpPr txBox="1">
            <a:spLocks/>
          </p:cNvSpPr>
          <p:nvPr/>
        </p:nvSpPr>
        <p:spPr>
          <a:xfrm>
            <a:off x="552000" y="6201000"/>
            <a:ext cx="11088000" cy="144006"/>
          </a:xfrm>
          <a:prstGeom prst="rect">
            <a:avLst/>
          </a:prstGeom>
        </p:spPr>
        <p:txBody>
          <a:bodyPr vert="horz" lIns="0" tIns="0" rIns="0" bIns="0" rtlCol="0" anchor="b">
            <a:noAutofit/>
          </a:bodyPr>
          <a:lstStyle>
            <a:lvl1pPr indent="0" algn="r" defTabSz="742950">
              <a:lnSpc>
                <a:spcPct val="100000"/>
              </a:lnSpc>
              <a:spcBef>
                <a:spcPts val="600"/>
              </a:spcBef>
              <a:buFont typeface="Wingdings" panose="05000000000000000000" pitchFamily="2" charset="2"/>
              <a:buNone/>
              <a:defRPr sz="1050" i="1">
                <a:solidFill>
                  <a:schemeClr val="accent3"/>
                </a:solidFill>
              </a:defRPr>
            </a:lvl1pPr>
            <a:lvl2pPr marL="396000" indent="-185738" defTabSz="742950">
              <a:lnSpc>
                <a:spcPct val="100000"/>
              </a:lnSpc>
              <a:spcBef>
                <a:spcPts val="600"/>
              </a:spcBef>
              <a:buFont typeface="Trebuchet MS" panose="020B0603020202020204" pitchFamily="34" charset="0"/>
              <a:buChar char="−"/>
              <a:defRPr sz="1050">
                <a:solidFill>
                  <a:schemeClr val="accent2"/>
                </a:solidFill>
              </a:defRPr>
            </a:lvl2pPr>
            <a:lvl3pPr marL="612000" indent="-185738" defTabSz="742950">
              <a:lnSpc>
                <a:spcPct val="100000"/>
              </a:lnSpc>
              <a:spcBef>
                <a:spcPts val="600"/>
              </a:spcBef>
              <a:buFont typeface="Arial" panose="020B0604020202020204" pitchFamily="34" charset="0"/>
              <a:buChar char="•"/>
              <a:defRPr sz="1000">
                <a:solidFill>
                  <a:schemeClr val="accent2"/>
                </a:solidFill>
              </a:defRPr>
            </a:lvl3pPr>
            <a:lvl4pPr marL="828000" indent="-185738" defTabSz="742950">
              <a:lnSpc>
                <a:spcPct val="100000"/>
              </a:lnSpc>
              <a:spcBef>
                <a:spcPts val="600"/>
              </a:spcBef>
              <a:buSzPct val="125000"/>
              <a:buFont typeface="Trebuchet MS" panose="020B0603020202020204" pitchFamily="34" charset="0"/>
              <a:buChar char="»"/>
              <a:defRPr sz="1100">
                <a:solidFill>
                  <a:srgbClr val="4B4B4B"/>
                </a:solidFill>
              </a:defRPr>
            </a:lvl4pPr>
            <a:lvl5pPr marL="1008000" indent="-185738" defTabSz="742950">
              <a:lnSpc>
                <a:spcPct val="100000"/>
              </a:lnSpc>
              <a:spcBef>
                <a:spcPts val="600"/>
              </a:spcBef>
              <a:buSzPct val="150000"/>
              <a:buFont typeface="Trebuchet MS" panose="020B0603020202020204" pitchFamily="34" charset="0"/>
              <a:buChar char="›"/>
              <a:defRPr sz="1100">
                <a:solidFill>
                  <a:srgbClr val="4B4B4B"/>
                </a:solidFill>
              </a:defRPr>
            </a:lvl5pPr>
            <a:lvl6pPr marL="1008000" indent="-185738" defTabSz="742950">
              <a:lnSpc>
                <a:spcPct val="100000"/>
              </a:lnSpc>
              <a:spcBef>
                <a:spcPts val="600"/>
              </a:spcBef>
              <a:buSzPct val="125000"/>
              <a:buFont typeface="Trebuchet MS" panose="020B0603020202020204" pitchFamily="34" charset="0"/>
              <a:buChar char="&gt;"/>
              <a:defRPr sz="1100">
                <a:solidFill>
                  <a:srgbClr val="4B4B4B"/>
                </a:solidFill>
              </a:defRPr>
            </a:lvl6pPr>
            <a:lvl7pPr marL="1008000" indent="-185738" defTabSz="742950">
              <a:lnSpc>
                <a:spcPct val="100000"/>
              </a:lnSpc>
              <a:spcBef>
                <a:spcPts val="600"/>
              </a:spcBef>
              <a:buSzPct val="125000"/>
              <a:buFont typeface="Trebuchet MS" panose="020B0603020202020204" pitchFamily="34" charset="0"/>
              <a:buChar char="¬"/>
              <a:defRPr sz="1100">
                <a:solidFill>
                  <a:srgbClr val="4B4B4B"/>
                </a:solidFill>
              </a:defRPr>
            </a:lvl7pPr>
            <a:lvl8pPr marL="1008000" indent="-185738" defTabSz="742950">
              <a:lnSpc>
                <a:spcPct val="100000"/>
              </a:lnSpc>
              <a:spcBef>
                <a:spcPts val="600"/>
              </a:spcBef>
              <a:buSzPct val="125000"/>
              <a:buFont typeface="Courier New" panose="02070309020205020404" pitchFamily="49" charset="0"/>
              <a:buChar char="o"/>
              <a:defRPr sz="1100">
                <a:solidFill>
                  <a:srgbClr val="4B4B4B"/>
                </a:solidFill>
              </a:defRPr>
            </a:lvl8pPr>
            <a:lvl9pPr marL="1008000" indent="-185738" defTabSz="742950">
              <a:lnSpc>
                <a:spcPct val="100000"/>
              </a:lnSpc>
              <a:spcBef>
                <a:spcPts val="600"/>
              </a:spcBef>
              <a:buSzPct val="150000"/>
              <a:buFont typeface="Trebuchet MS" panose="020B0603020202020204" pitchFamily="34" charset="0"/>
              <a:buChar char="▫"/>
              <a:defRPr sz="1100">
                <a:solidFill>
                  <a:srgbClr val="4B4B4B"/>
                </a:solidFill>
              </a:defRPr>
            </a:lvl9pPr>
          </a:lstStyle>
          <a:p>
            <a:r>
              <a:rPr lang="de-DE"/>
              <a:t>Gimpel et al. 2023</a:t>
            </a:r>
          </a:p>
        </p:txBody>
      </p:sp>
      <p:grpSp>
        <p:nvGrpSpPr>
          <p:cNvPr id="7" name="Gruppieren 6">
            <a:extLst>
              <a:ext uri="{FF2B5EF4-FFF2-40B4-BE49-F238E27FC236}">
                <a16:creationId xmlns:a16="http://schemas.microsoft.com/office/drawing/2014/main" id="{171BD9EE-9E2E-17FE-5CA6-B781F1EA48AD}"/>
              </a:ext>
            </a:extLst>
          </p:cNvPr>
          <p:cNvGrpSpPr/>
          <p:nvPr/>
        </p:nvGrpSpPr>
        <p:grpSpPr>
          <a:xfrm>
            <a:off x="491751" y="1822131"/>
            <a:ext cx="7826844" cy="2090724"/>
            <a:chOff x="550863" y="2965398"/>
            <a:chExt cx="7826844" cy="3403966"/>
          </a:xfrm>
        </p:grpSpPr>
        <p:sp>
          <p:nvSpPr>
            <p:cNvPr id="12" name="Rechteck: abgerundete Ecken 11">
              <a:extLst>
                <a:ext uri="{FF2B5EF4-FFF2-40B4-BE49-F238E27FC236}">
                  <a16:creationId xmlns:a16="http://schemas.microsoft.com/office/drawing/2014/main" id="{889386E0-546B-3498-4318-B2358686C065}"/>
                </a:ext>
              </a:extLst>
            </p:cNvPr>
            <p:cNvSpPr/>
            <p:nvPr/>
          </p:nvSpPr>
          <p:spPr>
            <a:xfrm>
              <a:off x="550863" y="3134675"/>
              <a:ext cx="7826844" cy="2926484"/>
            </a:xfrm>
            <a:prstGeom prst="roundRect">
              <a:avLst/>
            </a:prstGeom>
            <a:ln w="28575"/>
          </p:spPr>
          <p:style>
            <a:lnRef idx="2">
              <a:schemeClr val="accent3"/>
            </a:lnRef>
            <a:fillRef idx="1">
              <a:schemeClr val="lt1"/>
            </a:fillRef>
            <a:effectRef idx="0">
              <a:schemeClr val="accent3"/>
            </a:effectRef>
            <a:fontRef idx="minor">
              <a:schemeClr val="dk1"/>
            </a:fontRef>
          </p:style>
          <p:txBody>
            <a:bodyPr rtlCol="0" anchor="ctr"/>
            <a:lstStyle/>
            <a:p>
              <a:pPr algn="ctr"/>
              <a:endParaRPr lang="de-DE"/>
            </a:p>
          </p:txBody>
        </p:sp>
        <p:sp>
          <p:nvSpPr>
            <p:cNvPr id="13" name="Textfeld 12">
              <a:extLst>
                <a:ext uri="{FF2B5EF4-FFF2-40B4-BE49-F238E27FC236}">
                  <a16:creationId xmlns:a16="http://schemas.microsoft.com/office/drawing/2014/main" id="{5E7EB26C-5A88-54C1-231E-CFBBF03C7588}"/>
                </a:ext>
              </a:extLst>
            </p:cNvPr>
            <p:cNvSpPr txBox="1"/>
            <p:nvPr/>
          </p:nvSpPr>
          <p:spPr>
            <a:xfrm>
              <a:off x="932977" y="2965398"/>
              <a:ext cx="3433346" cy="338554"/>
            </a:xfrm>
            <a:prstGeom prst="rect">
              <a:avLst/>
            </a:prstGeom>
            <a:solidFill>
              <a:schemeClr val="bg1"/>
            </a:solidFill>
          </p:spPr>
          <p:txBody>
            <a:bodyPr wrap="square">
              <a:spAutoFit/>
            </a:bodyPr>
            <a:lstStyle/>
            <a:p>
              <a:r>
                <a:rPr lang="de-DE" sz="1600" b="1">
                  <a:solidFill>
                    <a:schemeClr val="tx2"/>
                  </a:solidFill>
                </a:rPr>
                <a:t>Begriffe und generelle Guidelines </a:t>
              </a:r>
            </a:p>
          </p:txBody>
        </p:sp>
        <p:sp>
          <p:nvSpPr>
            <p:cNvPr id="14" name="Textfeld 13">
              <a:extLst>
                <a:ext uri="{FF2B5EF4-FFF2-40B4-BE49-F238E27FC236}">
                  <a16:creationId xmlns:a16="http://schemas.microsoft.com/office/drawing/2014/main" id="{D295B27F-C4EF-C2C9-C285-1C1C52BB78BD}"/>
                </a:ext>
              </a:extLst>
            </p:cNvPr>
            <p:cNvSpPr txBox="1"/>
            <p:nvPr/>
          </p:nvSpPr>
          <p:spPr>
            <a:xfrm>
              <a:off x="932978" y="3387821"/>
              <a:ext cx="7077682" cy="2981543"/>
            </a:xfrm>
            <a:prstGeom prst="rect">
              <a:avLst/>
            </a:prstGeom>
            <a:noFill/>
          </p:spPr>
          <p:txBody>
            <a:bodyPr wrap="square">
              <a:spAutoFit/>
            </a:bodyPr>
            <a:lstStyle/>
            <a:p>
              <a:pPr marL="171450" indent="-171450">
                <a:spcAft>
                  <a:spcPts val="600"/>
                </a:spcAft>
                <a:buFont typeface="Arial" panose="020B0604020202020204" pitchFamily="34" charset="0"/>
                <a:buChar char="•"/>
              </a:pPr>
              <a:r>
                <a:rPr lang="de-DE" sz="1400" dirty="0"/>
                <a:t>Befehle an </a:t>
              </a:r>
              <a:r>
                <a:rPr lang="de-DE" sz="1400" dirty="0" err="1"/>
                <a:t>ChatGPT</a:t>
              </a:r>
              <a:r>
                <a:rPr lang="de-DE" sz="1400" dirty="0"/>
                <a:t> werden </a:t>
              </a:r>
              <a:r>
                <a:rPr lang="de-DE" sz="1400" b="1" dirty="0"/>
                <a:t>„Prompt“ </a:t>
              </a:r>
              <a:r>
                <a:rPr lang="de-DE" sz="1400" dirty="0"/>
                <a:t>genannt.</a:t>
              </a:r>
            </a:p>
            <a:p>
              <a:pPr marL="171450" indent="-171450">
                <a:spcAft>
                  <a:spcPts val="600"/>
                </a:spcAft>
                <a:buFont typeface="Arial" panose="020B0604020202020204" pitchFamily="34" charset="0"/>
                <a:buChar char="•"/>
              </a:pPr>
              <a:r>
                <a:rPr lang="de-DE" sz="1400" dirty="0"/>
                <a:t>Wie die Prompts für die Unterstützung ihres Vorhabens bestenfalls aussehen, ist von Ihrem Wissen, Ihren Fähigkeiten, Ihren Präferenzen und dem Thema Ihres Textes abhängig. </a:t>
              </a:r>
            </a:p>
            <a:p>
              <a:pPr marL="171450" indent="-171450">
                <a:spcAft>
                  <a:spcPts val="600"/>
                </a:spcAft>
                <a:buFont typeface="Arial" panose="020B0604020202020204" pitchFamily="34" charset="0"/>
                <a:buChar char="•"/>
              </a:pPr>
              <a:r>
                <a:rPr lang="de-DE" sz="1400" dirty="0"/>
                <a:t>Allgemein gilt jedoch:</a:t>
              </a:r>
              <a:br>
                <a:rPr lang="de-DE" sz="1400" dirty="0"/>
              </a:br>
              <a:r>
                <a:rPr lang="de-DE" sz="1400" b="1" dirty="0"/>
                <a:t>Je präziser der Prompt, umso besser das Ergebnis! </a:t>
              </a:r>
            </a:p>
            <a:p>
              <a:pPr>
                <a:spcAft>
                  <a:spcPts val="600"/>
                </a:spcAft>
              </a:pPr>
              <a:endParaRPr lang="de-DE" sz="1400" b="1" dirty="0"/>
            </a:p>
          </p:txBody>
        </p:sp>
      </p:grpSp>
      <p:pic>
        <p:nvPicPr>
          <p:cNvPr id="20" name="Grafik 19" descr="Volltreffer Silhouette">
            <a:extLst>
              <a:ext uri="{FF2B5EF4-FFF2-40B4-BE49-F238E27FC236}">
                <a16:creationId xmlns:a16="http://schemas.microsoft.com/office/drawing/2014/main" id="{FCD45C59-3CCA-7AE4-BFE3-BF25EEB8E41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64058" y="1449388"/>
            <a:ext cx="2223753" cy="2223753"/>
          </a:xfrm>
          <a:prstGeom prst="rect">
            <a:avLst/>
          </a:prstGeom>
        </p:spPr>
      </p:pic>
      <p:sp>
        <p:nvSpPr>
          <p:cNvPr id="9" name="Rechteck: abgerundete Ecken 13">
            <a:extLst>
              <a:ext uri="{FF2B5EF4-FFF2-40B4-BE49-F238E27FC236}">
                <a16:creationId xmlns:a16="http://schemas.microsoft.com/office/drawing/2014/main" id="{DC08FFD3-F01B-E57C-D091-3D2154F2DE71}"/>
              </a:ext>
            </a:extLst>
          </p:cNvPr>
          <p:cNvSpPr/>
          <p:nvPr/>
        </p:nvSpPr>
        <p:spPr>
          <a:xfrm>
            <a:off x="487075" y="3980134"/>
            <a:ext cx="11090338" cy="984249"/>
          </a:xfrm>
          <a:prstGeom prst="roundRect">
            <a:avLst/>
          </a:prstGeom>
          <a:ln w="28575"/>
        </p:spPr>
        <p:style>
          <a:lnRef idx="2">
            <a:schemeClr val="accent3"/>
          </a:lnRef>
          <a:fillRef idx="1">
            <a:schemeClr val="lt1"/>
          </a:fillRef>
          <a:effectRef idx="0">
            <a:schemeClr val="accent3"/>
          </a:effectRef>
          <a:fontRef idx="minor">
            <a:schemeClr val="dk1"/>
          </a:fontRef>
        </p:style>
        <p:txBody>
          <a:bodyPr rtlCol="0" anchor="ctr"/>
          <a:lstStyle/>
          <a:p>
            <a:pPr algn="ctr"/>
            <a:endParaRPr lang="de-DE"/>
          </a:p>
        </p:txBody>
      </p:sp>
      <p:sp>
        <p:nvSpPr>
          <p:cNvPr id="11" name="Textfeld 10">
            <a:extLst>
              <a:ext uri="{FF2B5EF4-FFF2-40B4-BE49-F238E27FC236}">
                <a16:creationId xmlns:a16="http://schemas.microsoft.com/office/drawing/2014/main" id="{2F64F9C9-6CE3-3171-6C8B-D2834F774B4F}"/>
              </a:ext>
            </a:extLst>
          </p:cNvPr>
          <p:cNvSpPr txBox="1"/>
          <p:nvPr/>
        </p:nvSpPr>
        <p:spPr>
          <a:xfrm>
            <a:off x="739170" y="3799725"/>
            <a:ext cx="972765" cy="338554"/>
          </a:xfrm>
          <a:prstGeom prst="rect">
            <a:avLst/>
          </a:prstGeom>
          <a:solidFill>
            <a:schemeClr val="bg1"/>
          </a:solidFill>
        </p:spPr>
        <p:txBody>
          <a:bodyPr wrap="square">
            <a:spAutoFit/>
          </a:bodyPr>
          <a:lstStyle/>
          <a:p>
            <a:r>
              <a:rPr lang="de-DE" sz="1600" b="1">
                <a:solidFill>
                  <a:schemeClr val="tx2"/>
                </a:solidFill>
              </a:rPr>
              <a:t>Hinweis</a:t>
            </a:r>
          </a:p>
        </p:txBody>
      </p:sp>
      <p:sp>
        <p:nvSpPr>
          <p:cNvPr id="15" name="Textfeld 14">
            <a:extLst>
              <a:ext uri="{FF2B5EF4-FFF2-40B4-BE49-F238E27FC236}">
                <a16:creationId xmlns:a16="http://schemas.microsoft.com/office/drawing/2014/main" id="{E49DFDDE-D73E-7924-00D2-9F20F8AC48E8}"/>
              </a:ext>
            </a:extLst>
          </p:cNvPr>
          <p:cNvSpPr txBox="1"/>
          <p:nvPr/>
        </p:nvSpPr>
        <p:spPr>
          <a:xfrm>
            <a:off x="614587" y="4205558"/>
            <a:ext cx="10905438" cy="938536"/>
          </a:xfrm>
          <a:prstGeom prst="rect">
            <a:avLst/>
          </a:prstGeom>
        </p:spPr>
        <p:txBody>
          <a:bodyPr vert="horz" wrap="square" lIns="0" tIns="0" rIns="0" bIns="0" rtlCol="0">
            <a:noAutofit/>
          </a:bodyPr>
          <a:lstStyle/>
          <a:p>
            <a:pPr marL="285750" indent="-285750" algn="l">
              <a:buFont typeface="Wingdings" panose="05000000000000000000" pitchFamily="2" charset="2"/>
              <a:buChar char="§"/>
            </a:pPr>
            <a:r>
              <a:rPr lang="de-DE" sz="1400" dirty="0"/>
              <a:t>Klicken Sie auf „Regenerate Response“, um eine andere Antwort auf denselben Prompt zu bekommen. </a:t>
            </a:r>
            <a:r>
              <a:rPr lang="de-DE" sz="1400" dirty="0" err="1"/>
              <a:t>ChatGPT</a:t>
            </a:r>
            <a:r>
              <a:rPr lang="de-DE" sz="1400" dirty="0"/>
              <a:t> leitet seine Beiträge immer mit dem grünen Logo ein. Links daneben würden sie jetzt „&lt; 2 / 2 &gt;“ sehen. Mit Klick auf die „&lt; /&gt; “ Zeichen können Sie zwischen den Antwortalternativen hin und herschalten.</a:t>
            </a:r>
          </a:p>
        </p:txBody>
      </p:sp>
    </p:spTree>
    <p:extLst>
      <p:ext uri="{BB962C8B-B14F-4D97-AF65-F5344CB8AC3E}">
        <p14:creationId xmlns:p14="http://schemas.microsoft.com/office/powerpoint/2010/main" val="23805758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221FB3-A32B-B42C-9FBB-778965E691E4}"/>
              </a:ext>
            </a:extLst>
          </p:cNvPr>
          <p:cNvSpPr>
            <a:spLocks noGrp="1"/>
          </p:cNvSpPr>
          <p:nvPr>
            <p:ph type="title"/>
          </p:nvPr>
        </p:nvSpPr>
        <p:spPr/>
        <p:txBody>
          <a:bodyPr/>
          <a:lstStyle/>
          <a:p>
            <a:r>
              <a:rPr lang="de-DE" dirty="0"/>
              <a:t>https://chat.openai.com/</a:t>
            </a:r>
          </a:p>
        </p:txBody>
      </p:sp>
      <p:sp>
        <p:nvSpPr>
          <p:cNvPr id="4" name="Foliennummernplatzhalter 3">
            <a:extLst>
              <a:ext uri="{FF2B5EF4-FFF2-40B4-BE49-F238E27FC236}">
                <a16:creationId xmlns:a16="http://schemas.microsoft.com/office/drawing/2014/main" id="{1DB3A348-B043-9410-E33E-78C60282585D}"/>
              </a:ext>
            </a:extLst>
          </p:cNvPr>
          <p:cNvSpPr>
            <a:spLocks noGrp="1"/>
          </p:cNvSpPr>
          <p:nvPr>
            <p:ph type="sldNum" sz="quarter" idx="12"/>
          </p:nvPr>
        </p:nvSpPr>
        <p:spPr/>
        <p:txBody>
          <a:bodyPr/>
          <a:lstStyle/>
          <a:p>
            <a:fld id="{64647E8F-5052-4581-98D0-7C32D5A45346}" type="slidenum">
              <a:rPr lang="en-US" smtClean="0"/>
              <a:pPr/>
              <a:t>22</a:t>
            </a:fld>
            <a:endParaRPr lang="en-US"/>
          </a:p>
        </p:txBody>
      </p:sp>
      <p:pic>
        <p:nvPicPr>
          <p:cNvPr id="9" name="Inhaltsplatzhalter 8" descr="Ein Bild, das Text, Software, Screenshot, Webseite enthält.&#10;&#10;Automatisch generierte Beschreibung">
            <a:extLst>
              <a:ext uri="{FF2B5EF4-FFF2-40B4-BE49-F238E27FC236}">
                <a16:creationId xmlns:a16="http://schemas.microsoft.com/office/drawing/2014/main" id="{89223CF6-2E29-2F9B-73A9-34878B0AF1F9}"/>
              </a:ext>
            </a:extLst>
          </p:cNvPr>
          <p:cNvPicPr>
            <a:picLocks noGrp="1" noChangeAspect="1"/>
          </p:cNvPicPr>
          <p:nvPr>
            <p:ph sz="quarter" idx="13"/>
          </p:nvPr>
        </p:nvPicPr>
        <p:blipFill>
          <a:blip r:embed="rId2" cstate="print">
            <a:extLst>
              <a:ext uri="{28A0092B-C50C-407E-A947-70E740481C1C}">
                <a14:useLocalDpi xmlns:a14="http://schemas.microsoft.com/office/drawing/2010/main" val="0"/>
              </a:ext>
            </a:extLst>
          </a:blip>
          <a:stretch>
            <a:fillRect/>
          </a:stretch>
        </p:blipFill>
        <p:spPr>
          <a:xfrm>
            <a:off x="1036659" y="1541831"/>
            <a:ext cx="9276866" cy="4553756"/>
          </a:xfrm>
        </p:spPr>
      </p:pic>
      <p:sp>
        <p:nvSpPr>
          <p:cNvPr id="7" name="Inhaltsplatzhalter 6">
            <a:extLst>
              <a:ext uri="{FF2B5EF4-FFF2-40B4-BE49-F238E27FC236}">
                <a16:creationId xmlns:a16="http://schemas.microsoft.com/office/drawing/2014/main" id="{6688DC37-DF6E-4299-622C-AF1CD36D7899}"/>
              </a:ext>
            </a:extLst>
          </p:cNvPr>
          <p:cNvSpPr>
            <a:spLocks noGrp="1"/>
          </p:cNvSpPr>
          <p:nvPr>
            <p:ph sz="quarter" idx="17"/>
          </p:nvPr>
        </p:nvSpPr>
        <p:spPr/>
        <p:txBody>
          <a:bodyPr/>
          <a:lstStyle/>
          <a:p>
            <a:endParaRPr lang="de-DE"/>
          </a:p>
        </p:txBody>
      </p:sp>
    </p:spTree>
    <p:extLst>
      <p:ext uri="{BB962C8B-B14F-4D97-AF65-F5344CB8AC3E}">
        <p14:creationId xmlns:p14="http://schemas.microsoft.com/office/powerpoint/2010/main" val="34451158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3C8803-D234-47F0-BCD5-51620A595D7C}"/>
              </a:ext>
            </a:extLst>
          </p:cNvPr>
          <p:cNvSpPr>
            <a:spLocks noGrp="1"/>
          </p:cNvSpPr>
          <p:nvPr>
            <p:ph type="title"/>
          </p:nvPr>
        </p:nvSpPr>
        <p:spPr/>
        <p:txBody>
          <a:bodyPr/>
          <a:lstStyle/>
          <a:p>
            <a:r>
              <a:rPr lang="de-DE"/>
              <a:t>Was gilt es beim Verfassen von Prompts zu beachten?</a:t>
            </a:r>
          </a:p>
        </p:txBody>
      </p:sp>
      <p:sp>
        <p:nvSpPr>
          <p:cNvPr id="4" name="Foliennummernplatzhalter 3">
            <a:extLst>
              <a:ext uri="{FF2B5EF4-FFF2-40B4-BE49-F238E27FC236}">
                <a16:creationId xmlns:a16="http://schemas.microsoft.com/office/drawing/2014/main" id="{3F20654F-7C5F-A605-758A-468B7F3D2E65}"/>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23</a:t>
            </a:fld>
            <a:endParaRPr lang="en-US" sz="810">
              <a:solidFill>
                <a:srgbClr val="889194"/>
              </a:solidFill>
              <a:latin typeface="Trebuchet MS"/>
            </a:endParaRPr>
          </a:p>
        </p:txBody>
      </p:sp>
      <p:sp>
        <p:nvSpPr>
          <p:cNvPr id="7" name="Inhaltsplatzhalter 6">
            <a:extLst>
              <a:ext uri="{FF2B5EF4-FFF2-40B4-BE49-F238E27FC236}">
                <a16:creationId xmlns:a16="http://schemas.microsoft.com/office/drawing/2014/main" id="{B53EF244-E6A8-18CC-87EC-6E22F81B691A}"/>
              </a:ext>
            </a:extLst>
          </p:cNvPr>
          <p:cNvSpPr>
            <a:spLocks noGrp="1"/>
          </p:cNvSpPr>
          <p:nvPr>
            <p:ph sz="quarter" idx="17"/>
          </p:nvPr>
        </p:nvSpPr>
        <p:spPr/>
        <p:txBody>
          <a:bodyPr/>
          <a:lstStyle/>
          <a:p>
            <a:r>
              <a:rPr lang="de-DE"/>
              <a:t>Atlas, S. (2023), </a:t>
            </a:r>
            <a:r>
              <a:rPr lang="de-DE" err="1"/>
              <a:t>Quantamagzine</a:t>
            </a:r>
            <a:r>
              <a:rPr lang="de-DE"/>
              <a:t> (2023).</a:t>
            </a:r>
          </a:p>
        </p:txBody>
      </p:sp>
      <p:graphicFrame>
        <p:nvGraphicFramePr>
          <p:cNvPr id="15" name="Diagramm 14">
            <a:extLst>
              <a:ext uri="{FF2B5EF4-FFF2-40B4-BE49-F238E27FC236}">
                <a16:creationId xmlns:a16="http://schemas.microsoft.com/office/drawing/2014/main" id="{6ACA238E-71E9-49E6-11DF-903DFE120189}"/>
              </a:ext>
            </a:extLst>
          </p:cNvPr>
          <p:cNvGraphicFramePr/>
          <p:nvPr/>
        </p:nvGraphicFramePr>
        <p:xfrm>
          <a:off x="1105378" y="1664686"/>
          <a:ext cx="8548386" cy="12366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6" name="Diagramm 15">
            <a:extLst>
              <a:ext uri="{FF2B5EF4-FFF2-40B4-BE49-F238E27FC236}">
                <a16:creationId xmlns:a16="http://schemas.microsoft.com/office/drawing/2014/main" id="{6BB7409A-1302-FE51-04C6-657C4E1C2178}"/>
              </a:ext>
            </a:extLst>
          </p:cNvPr>
          <p:cNvGraphicFramePr/>
          <p:nvPr/>
        </p:nvGraphicFramePr>
        <p:xfrm>
          <a:off x="1105322" y="2990537"/>
          <a:ext cx="8548386" cy="123667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7" name="Diagramm 16">
            <a:extLst>
              <a:ext uri="{FF2B5EF4-FFF2-40B4-BE49-F238E27FC236}">
                <a16:creationId xmlns:a16="http://schemas.microsoft.com/office/drawing/2014/main" id="{7D963133-48A8-04EB-4063-B6FAB89C972A}"/>
              </a:ext>
            </a:extLst>
          </p:cNvPr>
          <p:cNvGraphicFramePr/>
          <p:nvPr/>
        </p:nvGraphicFramePr>
        <p:xfrm>
          <a:off x="1105322" y="4308285"/>
          <a:ext cx="8548386" cy="123667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pic>
        <p:nvPicPr>
          <p:cNvPr id="19" name="Grafik 18" descr="Volltreffer mit einfarbiger Füllung">
            <a:extLst>
              <a:ext uri="{FF2B5EF4-FFF2-40B4-BE49-F238E27FC236}">
                <a16:creationId xmlns:a16="http://schemas.microsoft.com/office/drawing/2014/main" id="{9BD71901-B595-1DE9-D151-9C7CD14FFE4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793112" y="1806831"/>
            <a:ext cx="952379" cy="952379"/>
          </a:xfrm>
          <a:prstGeom prst="rect">
            <a:avLst/>
          </a:prstGeom>
        </p:spPr>
      </p:pic>
      <p:pic>
        <p:nvPicPr>
          <p:cNvPr id="21" name="Grafik 20" descr="Kommentar (wichtig) Silhouette">
            <a:extLst>
              <a:ext uri="{FF2B5EF4-FFF2-40B4-BE49-F238E27FC236}">
                <a16:creationId xmlns:a16="http://schemas.microsoft.com/office/drawing/2014/main" id="{28122CCC-0A47-A31F-0EB1-54CD7605E58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825466" y="3223008"/>
            <a:ext cx="887669" cy="887669"/>
          </a:xfrm>
          <a:prstGeom prst="rect">
            <a:avLst/>
          </a:prstGeom>
        </p:spPr>
      </p:pic>
      <p:pic>
        <p:nvPicPr>
          <p:cNvPr id="27" name="Grafik 26" descr="Marke folgen mit einfarbiger Füllung">
            <a:extLst>
              <a:ext uri="{FF2B5EF4-FFF2-40B4-BE49-F238E27FC236}">
                <a16:creationId xmlns:a16="http://schemas.microsoft.com/office/drawing/2014/main" id="{5DC1126F-F544-E43B-D2F1-EBB7B502910A}"/>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9857821" y="4515138"/>
            <a:ext cx="822960" cy="822960"/>
          </a:xfrm>
          <a:prstGeom prst="rect">
            <a:avLst/>
          </a:prstGeom>
        </p:spPr>
      </p:pic>
    </p:spTree>
    <p:extLst>
      <p:ext uri="{BB962C8B-B14F-4D97-AF65-F5344CB8AC3E}">
        <p14:creationId xmlns:p14="http://schemas.microsoft.com/office/powerpoint/2010/main" val="1635513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6" grpId="0">
        <p:bldAsOne/>
      </p:bldGraphic>
      <p:bldGraphic spid="17" grpId="0">
        <p:bldAsOne/>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AE4DC1-3D04-6C78-DCCF-CCA5C0BA69D7}"/>
              </a:ext>
            </a:extLst>
          </p:cNvPr>
          <p:cNvSpPr>
            <a:spLocks noGrp="1"/>
          </p:cNvSpPr>
          <p:nvPr>
            <p:ph type="title"/>
          </p:nvPr>
        </p:nvSpPr>
        <p:spPr/>
        <p:txBody>
          <a:bodyPr/>
          <a:lstStyle/>
          <a:p>
            <a:r>
              <a:rPr lang="de-DE" err="1"/>
              <a:t>Artificial</a:t>
            </a:r>
            <a:r>
              <a:rPr lang="de-DE"/>
              <a:t> </a:t>
            </a:r>
            <a:r>
              <a:rPr lang="de-DE" err="1"/>
              <a:t>Intelligence</a:t>
            </a:r>
            <a:r>
              <a:rPr lang="de-DE"/>
              <a:t> (AI)</a:t>
            </a:r>
          </a:p>
        </p:txBody>
      </p:sp>
      <p:sp>
        <p:nvSpPr>
          <p:cNvPr id="4" name="Foliennummernplatzhalter 3">
            <a:extLst>
              <a:ext uri="{FF2B5EF4-FFF2-40B4-BE49-F238E27FC236}">
                <a16:creationId xmlns:a16="http://schemas.microsoft.com/office/drawing/2014/main" id="{D0CECF5D-9ECA-47A8-FF00-2F26BB71DCB7}"/>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24</a:t>
            </a:fld>
            <a:endParaRPr lang="en-US" sz="810">
              <a:solidFill>
                <a:srgbClr val="889194"/>
              </a:solidFill>
              <a:latin typeface="Trebuchet MS"/>
            </a:endParaRPr>
          </a:p>
        </p:txBody>
      </p:sp>
      <p:sp>
        <p:nvSpPr>
          <p:cNvPr id="7" name="Inhaltsplatzhalter 6">
            <a:extLst>
              <a:ext uri="{FF2B5EF4-FFF2-40B4-BE49-F238E27FC236}">
                <a16:creationId xmlns:a16="http://schemas.microsoft.com/office/drawing/2014/main" id="{FF1E966B-DC89-9CDF-EF90-AC72562E4E31}"/>
              </a:ext>
            </a:extLst>
          </p:cNvPr>
          <p:cNvSpPr>
            <a:spLocks noGrp="1"/>
          </p:cNvSpPr>
          <p:nvPr>
            <p:ph sz="quarter" idx="17"/>
          </p:nvPr>
        </p:nvSpPr>
        <p:spPr>
          <a:xfrm>
            <a:off x="1106400" y="5901423"/>
            <a:ext cx="9979200" cy="129606"/>
          </a:xfrm>
        </p:spPr>
        <p:txBody>
          <a:bodyPr/>
          <a:lstStyle/>
          <a:p>
            <a:endParaRPr lang="de-DE"/>
          </a:p>
        </p:txBody>
      </p:sp>
      <p:sp>
        <p:nvSpPr>
          <p:cNvPr id="14" name="Rechteck: abgerundete Ecken 13">
            <a:extLst>
              <a:ext uri="{FF2B5EF4-FFF2-40B4-BE49-F238E27FC236}">
                <a16:creationId xmlns:a16="http://schemas.microsoft.com/office/drawing/2014/main" id="{2790BB7A-1E99-7696-3D9C-9BD8669D70EA}"/>
              </a:ext>
            </a:extLst>
          </p:cNvPr>
          <p:cNvSpPr/>
          <p:nvPr/>
        </p:nvSpPr>
        <p:spPr>
          <a:xfrm>
            <a:off x="8501198" y="1584688"/>
            <a:ext cx="2732806" cy="4241755"/>
          </a:xfrm>
          <a:prstGeom prst="roundRect">
            <a:avLst/>
          </a:prstGeom>
          <a:solidFill>
            <a:schemeClr val="accent4"/>
          </a:solidFill>
          <a:ln>
            <a:solidFill>
              <a:schemeClr val="tx2"/>
            </a:solid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en-US" sz="1300" dirty="0">
                <a:solidFill>
                  <a:srgbClr val="004080"/>
                </a:solidFill>
                <a:latin typeface="Arial" panose="020B0604020202020204" pitchFamily="34" charset="0"/>
                <a:cs typeface="Arial" panose="020B0604020202020204" pitchFamily="34" charset="0"/>
              </a:rPr>
              <a:t>ARTIFICAL INTELLIGENCE</a:t>
            </a:r>
          </a:p>
        </p:txBody>
      </p:sp>
      <p:grpSp>
        <p:nvGrpSpPr>
          <p:cNvPr id="41" name="Gruppieren 40">
            <a:extLst>
              <a:ext uri="{FF2B5EF4-FFF2-40B4-BE49-F238E27FC236}">
                <a16:creationId xmlns:a16="http://schemas.microsoft.com/office/drawing/2014/main" id="{EF8AD742-C00C-1D59-111D-B6A89D7C2536}"/>
              </a:ext>
            </a:extLst>
          </p:cNvPr>
          <p:cNvGrpSpPr/>
          <p:nvPr/>
        </p:nvGrpSpPr>
        <p:grpSpPr>
          <a:xfrm>
            <a:off x="1105376" y="1719376"/>
            <a:ext cx="6981382" cy="1558516"/>
            <a:chOff x="550862" y="1529416"/>
            <a:chExt cx="7757091" cy="1731684"/>
          </a:xfrm>
        </p:grpSpPr>
        <p:sp>
          <p:nvSpPr>
            <p:cNvPr id="29" name="Textplatzhalter 5">
              <a:extLst>
                <a:ext uri="{FF2B5EF4-FFF2-40B4-BE49-F238E27FC236}">
                  <a16:creationId xmlns:a16="http://schemas.microsoft.com/office/drawing/2014/main" id="{3CF986B9-9B43-A65F-1E44-39EB24F2188C}"/>
                </a:ext>
              </a:extLst>
            </p:cNvPr>
            <p:cNvSpPr txBox="1">
              <a:spLocks/>
            </p:cNvSpPr>
            <p:nvPr/>
          </p:nvSpPr>
          <p:spPr>
            <a:xfrm>
              <a:off x="550874" y="1529416"/>
              <a:ext cx="7757079" cy="1731684"/>
            </a:xfrm>
            <a:prstGeom prst="roundRect">
              <a:avLst/>
            </a:prstGeom>
            <a:solidFill>
              <a:srgbClr val="FFFFFF"/>
            </a:solidFill>
            <a:effectLst>
              <a:outerShdw blurRad="63500" algn="ctr" rotWithShape="0">
                <a:prstClr val="black">
                  <a:alpha val="40000"/>
                </a:prstClr>
              </a:outerShdw>
            </a:effectLst>
          </p:spPr>
          <p:txBody>
            <a:bodyPr vert="horz" lIns="388800" tIns="97200" rIns="162000" bIns="97200" rtlCol="0" anchor="ctr">
              <a:noAutofit/>
            </a:bodyPr>
            <a:lstStyle>
              <a:lvl1pPr marL="0" indent="0" algn="l" defTabSz="742950" rtl="0" eaLnBrk="1" latinLnBrk="0" hangingPunct="1">
                <a:lnSpc>
                  <a:spcPct val="100000"/>
                </a:lnSpc>
                <a:spcBef>
                  <a:spcPts val="600"/>
                </a:spcBef>
                <a:buFont typeface="Wingdings" panose="05000000000000000000" pitchFamily="2" charset="2"/>
                <a:buNone/>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defTabSz="668656">
                <a:spcBef>
                  <a:spcPts val="540"/>
                </a:spcBef>
                <a:defRPr/>
              </a:pPr>
              <a:endParaRPr lang="de-DE" sz="1440" b="1">
                <a:solidFill>
                  <a:srgbClr val="368ECE"/>
                </a:solidFill>
                <a:latin typeface="Trebuchet MS"/>
              </a:endParaRPr>
            </a:p>
          </p:txBody>
        </p:sp>
        <p:sp>
          <p:nvSpPr>
            <p:cNvPr id="30" name="Rechteck 29">
              <a:extLst>
                <a:ext uri="{FF2B5EF4-FFF2-40B4-BE49-F238E27FC236}">
                  <a16:creationId xmlns:a16="http://schemas.microsoft.com/office/drawing/2014/main" id="{2FDA3B0C-F8D0-8AAB-6A9C-BF5963220CC5}"/>
                </a:ext>
              </a:extLst>
            </p:cNvPr>
            <p:cNvSpPr/>
            <p:nvPr/>
          </p:nvSpPr>
          <p:spPr>
            <a:xfrm>
              <a:off x="550862" y="1529416"/>
              <a:ext cx="7757079" cy="3605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de-DE" sz="1440" b="1">
                  <a:solidFill>
                    <a:srgbClr val="FFFFFF"/>
                  </a:solidFill>
                  <a:latin typeface="Trebuchet MS"/>
                </a:rPr>
                <a:t>Was ist </a:t>
              </a:r>
              <a:r>
                <a:rPr lang="de-DE" sz="1440" b="1" err="1">
                  <a:solidFill>
                    <a:srgbClr val="FFFFFF"/>
                  </a:solidFill>
                  <a:latin typeface="Trebuchet MS"/>
                </a:rPr>
                <a:t>Artificial</a:t>
              </a:r>
              <a:r>
                <a:rPr lang="de-DE" sz="1440" b="1">
                  <a:solidFill>
                    <a:srgbClr val="FFFFFF"/>
                  </a:solidFill>
                  <a:latin typeface="Trebuchet MS"/>
                </a:rPr>
                <a:t> </a:t>
              </a:r>
              <a:r>
                <a:rPr lang="de-DE" sz="1440" b="1" err="1">
                  <a:solidFill>
                    <a:srgbClr val="FFFFFF"/>
                  </a:solidFill>
                  <a:latin typeface="Trebuchet MS"/>
                </a:rPr>
                <a:t>Intelligence</a:t>
              </a:r>
              <a:r>
                <a:rPr lang="de-DE" sz="1440" b="1">
                  <a:solidFill>
                    <a:srgbClr val="FFFFFF"/>
                  </a:solidFill>
                  <a:latin typeface="Trebuchet MS"/>
                </a:rPr>
                <a:t>?</a:t>
              </a:r>
              <a:endParaRPr lang="de-DE" sz="1260" b="1">
                <a:solidFill>
                  <a:srgbClr val="FFFFFF"/>
                </a:solidFill>
                <a:latin typeface="Trebuchet MS"/>
              </a:endParaRPr>
            </a:p>
          </p:txBody>
        </p:sp>
        <p:pic>
          <p:nvPicPr>
            <p:cNvPr id="31" name="Grafik 30" descr="Schließendes Anführungszeichen mit einfarbiger Füllung">
              <a:extLst>
                <a:ext uri="{FF2B5EF4-FFF2-40B4-BE49-F238E27FC236}">
                  <a16:creationId xmlns:a16="http://schemas.microsoft.com/office/drawing/2014/main" id="{00DBB5E8-5CD6-C973-0C8C-5B1CC719A03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795393" y="1969141"/>
              <a:ext cx="1186978" cy="1186978"/>
            </a:xfrm>
            <a:prstGeom prst="rect">
              <a:avLst/>
            </a:prstGeom>
          </p:spPr>
        </p:pic>
        <p:sp>
          <p:nvSpPr>
            <p:cNvPr id="32" name="Textfeld 31">
              <a:extLst>
                <a:ext uri="{FF2B5EF4-FFF2-40B4-BE49-F238E27FC236}">
                  <a16:creationId xmlns:a16="http://schemas.microsoft.com/office/drawing/2014/main" id="{49337252-81FF-2725-DD9C-5D254F88B70A}"/>
                </a:ext>
              </a:extLst>
            </p:cNvPr>
            <p:cNvSpPr txBox="1"/>
            <p:nvPr/>
          </p:nvSpPr>
          <p:spPr>
            <a:xfrm>
              <a:off x="720393" y="1969141"/>
              <a:ext cx="5749418" cy="978795"/>
            </a:xfrm>
            <a:prstGeom prst="rect">
              <a:avLst/>
            </a:prstGeom>
          </p:spPr>
          <p:txBody>
            <a:bodyPr vert="horz" wrap="square" lIns="0" tIns="0" rIns="0" bIns="0" rtlCol="0">
              <a:noAutofit/>
            </a:bodyPr>
            <a:lstStyle/>
            <a:p>
              <a:pPr defTabSz="822960">
                <a:defRPr/>
              </a:pPr>
              <a:r>
                <a:rPr lang="de-DE" sz="1440" dirty="0">
                  <a:solidFill>
                    <a:srgbClr val="000000"/>
                  </a:solidFill>
                  <a:latin typeface="Trebuchet MS"/>
                </a:rPr>
                <a:t>Entwicklungen zwischen 1950 und 1980 von Künstlicher Intelligenz mit dem Ziel der Nachahmung menschlicher Intelligenz; war allerdings nicht sonderlich erfolgreich </a:t>
              </a:r>
              <a:endParaRPr lang="en-US" sz="1260" dirty="0">
                <a:solidFill>
                  <a:srgbClr val="889194">
                    <a:lumMod val="75000"/>
                  </a:srgbClr>
                </a:solidFill>
                <a:latin typeface="Trebuchet MS"/>
              </a:endParaRPr>
            </a:p>
          </p:txBody>
        </p:sp>
      </p:grpSp>
      <p:grpSp>
        <p:nvGrpSpPr>
          <p:cNvPr id="5" name="Gruppieren 4">
            <a:extLst>
              <a:ext uri="{FF2B5EF4-FFF2-40B4-BE49-F238E27FC236}">
                <a16:creationId xmlns:a16="http://schemas.microsoft.com/office/drawing/2014/main" id="{D2273A4F-9484-4F67-2212-F41386242D94}"/>
              </a:ext>
            </a:extLst>
          </p:cNvPr>
          <p:cNvGrpSpPr/>
          <p:nvPr/>
        </p:nvGrpSpPr>
        <p:grpSpPr>
          <a:xfrm>
            <a:off x="1105377" y="3660067"/>
            <a:ext cx="6981382" cy="1666910"/>
            <a:chOff x="560207" y="3624704"/>
            <a:chExt cx="7757091" cy="1852122"/>
          </a:xfrm>
        </p:grpSpPr>
        <p:sp>
          <p:nvSpPr>
            <p:cNvPr id="37" name="Textplatzhalter 5">
              <a:extLst>
                <a:ext uri="{FF2B5EF4-FFF2-40B4-BE49-F238E27FC236}">
                  <a16:creationId xmlns:a16="http://schemas.microsoft.com/office/drawing/2014/main" id="{B5A71793-0F35-19C8-D4DA-330EC02EB7D0}"/>
                </a:ext>
              </a:extLst>
            </p:cNvPr>
            <p:cNvSpPr txBox="1">
              <a:spLocks/>
            </p:cNvSpPr>
            <p:nvPr/>
          </p:nvSpPr>
          <p:spPr>
            <a:xfrm>
              <a:off x="560219" y="3624704"/>
              <a:ext cx="7757079" cy="1852122"/>
            </a:xfrm>
            <a:prstGeom prst="roundRect">
              <a:avLst/>
            </a:prstGeom>
            <a:solidFill>
              <a:srgbClr val="FFFFFF"/>
            </a:solidFill>
            <a:effectLst>
              <a:outerShdw blurRad="63500" algn="ctr" rotWithShape="0">
                <a:prstClr val="black">
                  <a:alpha val="40000"/>
                </a:prstClr>
              </a:outerShdw>
            </a:effectLst>
          </p:spPr>
          <p:txBody>
            <a:bodyPr vert="horz" lIns="388800" tIns="97200" rIns="162000" bIns="97200" rtlCol="0" anchor="ctr">
              <a:noAutofit/>
            </a:bodyPr>
            <a:lstStyle>
              <a:lvl1pPr marL="0" indent="0" algn="l" defTabSz="742950" rtl="0" eaLnBrk="1" latinLnBrk="0" hangingPunct="1">
                <a:lnSpc>
                  <a:spcPct val="100000"/>
                </a:lnSpc>
                <a:spcBef>
                  <a:spcPts val="600"/>
                </a:spcBef>
                <a:buFont typeface="Wingdings" panose="05000000000000000000" pitchFamily="2" charset="2"/>
                <a:buNone/>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defTabSz="668656">
                <a:spcBef>
                  <a:spcPts val="540"/>
                </a:spcBef>
                <a:defRPr/>
              </a:pPr>
              <a:endParaRPr lang="de-DE" sz="1440" b="1">
                <a:solidFill>
                  <a:srgbClr val="368ECE"/>
                </a:solidFill>
                <a:latin typeface="Trebuchet MS"/>
              </a:endParaRPr>
            </a:p>
          </p:txBody>
        </p:sp>
        <p:sp>
          <p:nvSpPr>
            <p:cNvPr id="38" name="Rechteck 37">
              <a:extLst>
                <a:ext uri="{FF2B5EF4-FFF2-40B4-BE49-F238E27FC236}">
                  <a16:creationId xmlns:a16="http://schemas.microsoft.com/office/drawing/2014/main" id="{9C0E462E-C1BB-4B1C-1BDE-F6BA40038502}"/>
                </a:ext>
              </a:extLst>
            </p:cNvPr>
            <p:cNvSpPr/>
            <p:nvPr/>
          </p:nvSpPr>
          <p:spPr>
            <a:xfrm>
              <a:off x="560207" y="3624704"/>
              <a:ext cx="7757079" cy="3605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de-DE" sz="1440" b="1">
                  <a:solidFill>
                    <a:srgbClr val="FFFFFF"/>
                  </a:solidFill>
                  <a:latin typeface="Trebuchet MS"/>
                </a:rPr>
                <a:t>Historie &amp; Meilensteine</a:t>
              </a:r>
              <a:endParaRPr lang="de-DE" sz="1260" b="1">
                <a:solidFill>
                  <a:srgbClr val="FFFFFF"/>
                </a:solidFill>
                <a:latin typeface="Trebuchet MS"/>
              </a:endParaRPr>
            </a:p>
          </p:txBody>
        </p:sp>
        <p:pic>
          <p:nvPicPr>
            <p:cNvPr id="39" name="Grafik 38" descr="Route zwei Stecknadeln mit Weg mit einfarbiger Füllung">
              <a:extLst>
                <a:ext uri="{FF2B5EF4-FFF2-40B4-BE49-F238E27FC236}">
                  <a16:creationId xmlns:a16="http://schemas.microsoft.com/office/drawing/2014/main" id="{FEE0C32F-0301-5A13-B695-2861260D092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795393" y="4093449"/>
              <a:ext cx="1186978" cy="1186978"/>
            </a:xfrm>
            <a:prstGeom prst="rect">
              <a:avLst/>
            </a:prstGeom>
          </p:spPr>
        </p:pic>
        <p:sp>
          <p:nvSpPr>
            <p:cNvPr id="36" name="Textfeld 35">
              <a:extLst>
                <a:ext uri="{FF2B5EF4-FFF2-40B4-BE49-F238E27FC236}">
                  <a16:creationId xmlns:a16="http://schemas.microsoft.com/office/drawing/2014/main" id="{1528D6D8-C67F-E060-11E0-8D6FD33054FD}"/>
                </a:ext>
              </a:extLst>
            </p:cNvPr>
            <p:cNvSpPr txBox="1"/>
            <p:nvPr/>
          </p:nvSpPr>
          <p:spPr>
            <a:xfrm>
              <a:off x="628912" y="4134180"/>
              <a:ext cx="5840899" cy="978795"/>
            </a:xfrm>
            <a:prstGeom prst="rect">
              <a:avLst/>
            </a:prstGeom>
          </p:spPr>
          <p:txBody>
            <a:bodyPr vert="horz" wrap="square" lIns="0" tIns="0" rIns="0" bIns="0" rtlCol="0">
              <a:noAutofit/>
            </a:bodyPr>
            <a:lstStyle/>
            <a:p>
              <a:pPr marL="257176" indent="-257176" defTabSz="822960">
                <a:buFont typeface="Arial" panose="020B0604020202020204" pitchFamily="34" charset="0"/>
                <a:buChar char="•"/>
                <a:defRPr/>
              </a:pPr>
              <a:r>
                <a:rPr lang="de-DE" sz="1440" dirty="0">
                  <a:solidFill>
                    <a:srgbClr val="000000"/>
                  </a:solidFill>
                  <a:latin typeface="Trebuchet MS"/>
                </a:rPr>
                <a:t>Entwicklung des Turing Test (1950)</a:t>
              </a:r>
            </a:p>
            <a:p>
              <a:pPr marL="257176" indent="-257176" defTabSz="822960">
                <a:buFont typeface="Arial" panose="020B0604020202020204" pitchFamily="34" charset="0"/>
                <a:buChar char="•"/>
                <a:defRPr/>
              </a:pPr>
              <a:r>
                <a:rPr lang="de-DE" sz="1440" dirty="0">
                  <a:solidFill>
                    <a:srgbClr val="000000"/>
                  </a:solidFill>
                  <a:latin typeface="Trebuchet MS"/>
                </a:rPr>
                <a:t>Entwicklung des ersten neuronalen Netzwerks (1957)</a:t>
              </a:r>
            </a:p>
            <a:p>
              <a:pPr marL="257176" indent="-257176" defTabSz="822960">
                <a:buFont typeface="Arial" panose="020B0604020202020204" pitchFamily="34" charset="0"/>
                <a:buChar char="•"/>
                <a:defRPr/>
              </a:pPr>
              <a:r>
                <a:rPr lang="de-DE" sz="1440" dirty="0">
                  <a:solidFill>
                    <a:srgbClr val="000000"/>
                  </a:solidFill>
                  <a:latin typeface="Trebuchet MS"/>
                </a:rPr>
                <a:t>Erfindung des Backpropagation-Algorithmus (1986) </a:t>
              </a:r>
            </a:p>
            <a:p>
              <a:pPr marL="257176" indent="-257176" defTabSz="822960">
                <a:buFont typeface="Arial" panose="020B0604020202020204" pitchFamily="34" charset="0"/>
                <a:buChar char="•"/>
                <a:defRPr/>
              </a:pPr>
              <a:r>
                <a:rPr lang="de-DE" sz="1440" dirty="0">
                  <a:solidFill>
                    <a:srgbClr val="000000"/>
                  </a:solidFill>
                  <a:latin typeface="Trebuchet MS"/>
                </a:rPr>
                <a:t>Entwicklung der Transformer-Architektur (2017)</a:t>
              </a:r>
            </a:p>
          </p:txBody>
        </p:sp>
      </p:grpSp>
    </p:spTree>
    <p:extLst>
      <p:ext uri="{BB962C8B-B14F-4D97-AF65-F5344CB8AC3E}">
        <p14:creationId xmlns:p14="http://schemas.microsoft.com/office/powerpoint/2010/main" val="34744227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505C1-AD1B-7419-B43E-DF4EEEC6201B}"/>
              </a:ext>
            </a:extLst>
          </p:cNvPr>
          <p:cNvSpPr>
            <a:spLocks noGrp="1"/>
          </p:cNvSpPr>
          <p:nvPr>
            <p:ph type="title"/>
          </p:nvPr>
        </p:nvSpPr>
        <p:spPr/>
        <p:txBody>
          <a:bodyPr/>
          <a:lstStyle/>
          <a:p>
            <a:r>
              <a:rPr lang="de-DE" err="1"/>
              <a:t>Machine</a:t>
            </a:r>
            <a:r>
              <a:rPr lang="de-DE"/>
              <a:t> Learning</a:t>
            </a:r>
          </a:p>
        </p:txBody>
      </p:sp>
      <p:sp>
        <p:nvSpPr>
          <p:cNvPr id="4" name="Foliennummernplatzhalter 3">
            <a:extLst>
              <a:ext uri="{FF2B5EF4-FFF2-40B4-BE49-F238E27FC236}">
                <a16:creationId xmlns:a16="http://schemas.microsoft.com/office/drawing/2014/main" id="{D7EFACED-2A84-CD77-B7E8-06EFBCE07E8E}"/>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25</a:t>
            </a:fld>
            <a:endParaRPr lang="en-US" sz="810">
              <a:solidFill>
                <a:srgbClr val="889194"/>
              </a:solidFill>
              <a:latin typeface="Trebuchet MS"/>
            </a:endParaRPr>
          </a:p>
        </p:txBody>
      </p:sp>
      <p:sp>
        <p:nvSpPr>
          <p:cNvPr id="12" name="Rechteck: abgerundete Ecken 11">
            <a:extLst>
              <a:ext uri="{FF2B5EF4-FFF2-40B4-BE49-F238E27FC236}">
                <a16:creationId xmlns:a16="http://schemas.microsoft.com/office/drawing/2014/main" id="{56A41F9D-52D1-4B00-E500-E2C85D88E040}"/>
              </a:ext>
            </a:extLst>
          </p:cNvPr>
          <p:cNvSpPr/>
          <p:nvPr/>
        </p:nvSpPr>
        <p:spPr>
          <a:xfrm>
            <a:off x="8501198" y="1584688"/>
            <a:ext cx="2732806" cy="4241755"/>
          </a:xfrm>
          <a:prstGeom prst="roundRect">
            <a:avLst/>
          </a:prstGeom>
          <a:solidFill>
            <a:schemeClr val="accent4"/>
          </a:solidFill>
          <a:ln>
            <a:solidFill>
              <a:schemeClr val="tx2"/>
            </a:solid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en-US" sz="1300" dirty="0">
                <a:solidFill>
                  <a:srgbClr val="004080"/>
                </a:solidFill>
                <a:latin typeface="Arial" panose="020B0604020202020204" pitchFamily="34" charset="0"/>
                <a:cs typeface="Arial" panose="020B0604020202020204" pitchFamily="34" charset="0"/>
              </a:rPr>
              <a:t>ARTIFICAL INTELLIGENCE</a:t>
            </a:r>
          </a:p>
        </p:txBody>
      </p:sp>
      <p:sp>
        <p:nvSpPr>
          <p:cNvPr id="13" name="Rechteck: abgerundete Ecken 12">
            <a:extLst>
              <a:ext uri="{FF2B5EF4-FFF2-40B4-BE49-F238E27FC236}">
                <a16:creationId xmlns:a16="http://schemas.microsoft.com/office/drawing/2014/main" id="{AC73AF18-C574-EA46-C634-57CA816E5DE2}"/>
              </a:ext>
            </a:extLst>
          </p:cNvPr>
          <p:cNvSpPr/>
          <p:nvPr/>
        </p:nvSpPr>
        <p:spPr>
          <a:xfrm>
            <a:off x="8514057" y="2069161"/>
            <a:ext cx="2176502" cy="3703805"/>
          </a:xfrm>
          <a:prstGeom prst="roundRect">
            <a:avLst/>
          </a:prstGeom>
          <a:solidFill>
            <a:schemeClr val="accent2">
              <a:lumMod val="40000"/>
              <a:lumOff val="60000"/>
            </a:schemeClr>
          </a:solidFill>
          <a:ln>
            <a:no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de-DE" sz="990">
                <a:solidFill>
                  <a:srgbClr val="004080"/>
                </a:solidFill>
                <a:latin typeface="Arial" panose="020B0604020202020204" pitchFamily="34" charset="0"/>
                <a:cs typeface="Arial" panose="020B0604020202020204" pitchFamily="34" charset="0"/>
              </a:rPr>
              <a:t>MACHINE LEARNING</a:t>
            </a:r>
          </a:p>
        </p:txBody>
      </p:sp>
      <p:grpSp>
        <p:nvGrpSpPr>
          <p:cNvPr id="9" name="Gruppieren 8">
            <a:extLst>
              <a:ext uri="{FF2B5EF4-FFF2-40B4-BE49-F238E27FC236}">
                <a16:creationId xmlns:a16="http://schemas.microsoft.com/office/drawing/2014/main" id="{0BC4E3AA-5045-AF97-EEA6-850474CF5828}"/>
              </a:ext>
            </a:extLst>
          </p:cNvPr>
          <p:cNvGrpSpPr/>
          <p:nvPr/>
        </p:nvGrpSpPr>
        <p:grpSpPr>
          <a:xfrm>
            <a:off x="1105376" y="1719376"/>
            <a:ext cx="6981382" cy="1558516"/>
            <a:chOff x="550862" y="1529416"/>
            <a:chExt cx="7757091" cy="1731684"/>
          </a:xfrm>
        </p:grpSpPr>
        <p:sp>
          <p:nvSpPr>
            <p:cNvPr id="14" name="Textplatzhalter 5">
              <a:extLst>
                <a:ext uri="{FF2B5EF4-FFF2-40B4-BE49-F238E27FC236}">
                  <a16:creationId xmlns:a16="http://schemas.microsoft.com/office/drawing/2014/main" id="{6AC7E2C7-CA1E-3758-D7EC-B2DC06602F90}"/>
                </a:ext>
              </a:extLst>
            </p:cNvPr>
            <p:cNvSpPr txBox="1">
              <a:spLocks/>
            </p:cNvSpPr>
            <p:nvPr/>
          </p:nvSpPr>
          <p:spPr>
            <a:xfrm>
              <a:off x="550874" y="1529416"/>
              <a:ext cx="7757079" cy="1731684"/>
            </a:xfrm>
            <a:prstGeom prst="roundRect">
              <a:avLst/>
            </a:prstGeom>
            <a:solidFill>
              <a:srgbClr val="FFFFFF"/>
            </a:solidFill>
            <a:effectLst>
              <a:outerShdw blurRad="63500" algn="ctr" rotWithShape="0">
                <a:prstClr val="black">
                  <a:alpha val="40000"/>
                </a:prstClr>
              </a:outerShdw>
            </a:effectLst>
          </p:spPr>
          <p:txBody>
            <a:bodyPr vert="horz" lIns="388800" tIns="97200" rIns="162000" bIns="97200" rtlCol="0" anchor="ctr">
              <a:noAutofit/>
            </a:bodyPr>
            <a:lstStyle>
              <a:lvl1pPr marL="0" indent="0" algn="l" defTabSz="742950" rtl="0" eaLnBrk="1" latinLnBrk="0" hangingPunct="1">
                <a:lnSpc>
                  <a:spcPct val="100000"/>
                </a:lnSpc>
                <a:spcBef>
                  <a:spcPts val="600"/>
                </a:spcBef>
                <a:buFont typeface="Wingdings" panose="05000000000000000000" pitchFamily="2" charset="2"/>
                <a:buNone/>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defTabSz="668656">
                <a:spcBef>
                  <a:spcPts val="540"/>
                </a:spcBef>
                <a:defRPr/>
              </a:pPr>
              <a:endParaRPr lang="de-DE" sz="1440" b="1">
                <a:solidFill>
                  <a:srgbClr val="368ECE"/>
                </a:solidFill>
                <a:latin typeface="Trebuchet MS"/>
              </a:endParaRPr>
            </a:p>
          </p:txBody>
        </p:sp>
        <p:sp>
          <p:nvSpPr>
            <p:cNvPr id="15" name="Rechteck 14">
              <a:extLst>
                <a:ext uri="{FF2B5EF4-FFF2-40B4-BE49-F238E27FC236}">
                  <a16:creationId xmlns:a16="http://schemas.microsoft.com/office/drawing/2014/main" id="{01BCBC35-458B-D644-5FCD-4364FF2A3F27}"/>
                </a:ext>
              </a:extLst>
            </p:cNvPr>
            <p:cNvSpPr/>
            <p:nvPr/>
          </p:nvSpPr>
          <p:spPr>
            <a:xfrm>
              <a:off x="550862" y="1529416"/>
              <a:ext cx="7757079" cy="3605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de-DE" sz="1440" b="1">
                  <a:solidFill>
                    <a:srgbClr val="FFFFFF"/>
                  </a:solidFill>
                  <a:latin typeface="Trebuchet MS"/>
                </a:rPr>
                <a:t>Was ist </a:t>
              </a:r>
              <a:r>
                <a:rPr lang="de-DE" sz="1440" b="1" err="1">
                  <a:solidFill>
                    <a:srgbClr val="FFFFFF"/>
                  </a:solidFill>
                  <a:latin typeface="Trebuchet MS"/>
                </a:rPr>
                <a:t>Machine</a:t>
              </a:r>
              <a:r>
                <a:rPr lang="de-DE" sz="1440" b="1">
                  <a:solidFill>
                    <a:srgbClr val="FFFFFF"/>
                  </a:solidFill>
                  <a:latin typeface="Trebuchet MS"/>
                </a:rPr>
                <a:t> Learning?</a:t>
              </a:r>
              <a:endParaRPr lang="de-DE" sz="1260" b="1">
                <a:solidFill>
                  <a:srgbClr val="FFFFFF"/>
                </a:solidFill>
                <a:latin typeface="Trebuchet MS"/>
              </a:endParaRPr>
            </a:p>
          </p:txBody>
        </p:sp>
        <p:pic>
          <p:nvPicPr>
            <p:cNvPr id="16" name="Grafik 15" descr="Schließendes Anführungszeichen mit einfarbiger Füllung">
              <a:extLst>
                <a:ext uri="{FF2B5EF4-FFF2-40B4-BE49-F238E27FC236}">
                  <a16:creationId xmlns:a16="http://schemas.microsoft.com/office/drawing/2014/main" id="{C0B1360C-0687-346B-775D-2A20065F6CD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795393" y="1969141"/>
              <a:ext cx="1186978" cy="1186978"/>
            </a:xfrm>
            <a:prstGeom prst="rect">
              <a:avLst/>
            </a:prstGeom>
          </p:spPr>
        </p:pic>
        <p:sp>
          <p:nvSpPr>
            <p:cNvPr id="17" name="Textfeld 16">
              <a:extLst>
                <a:ext uri="{FF2B5EF4-FFF2-40B4-BE49-F238E27FC236}">
                  <a16:creationId xmlns:a16="http://schemas.microsoft.com/office/drawing/2014/main" id="{98B3B54A-029A-5373-4F70-AFEC145F6323}"/>
                </a:ext>
              </a:extLst>
            </p:cNvPr>
            <p:cNvSpPr txBox="1"/>
            <p:nvPr/>
          </p:nvSpPr>
          <p:spPr>
            <a:xfrm>
              <a:off x="720393" y="1969141"/>
              <a:ext cx="5749418" cy="978795"/>
            </a:xfrm>
            <a:prstGeom prst="rect">
              <a:avLst/>
            </a:prstGeom>
          </p:spPr>
          <p:txBody>
            <a:bodyPr vert="horz" wrap="square" lIns="0" tIns="0" rIns="0" bIns="0" rtlCol="0">
              <a:noAutofit/>
            </a:bodyPr>
            <a:lstStyle/>
            <a:p>
              <a:pPr defTabSz="822960">
                <a:defRPr/>
              </a:pPr>
              <a:r>
                <a:rPr lang="de-DE" sz="1440">
                  <a:solidFill>
                    <a:srgbClr val="000000"/>
                  </a:solidFill>
                  <a:latin typeface="Trebuchet MS"/>
                </a:rPr>
                <a:t>Teilbereich der KI, der sich mit der Entwicklung von </a:t>
              </a:r>
              <a:r>
                <a:rPr lang="de-DE" sz="1440" b="1">
                  <a:solidFill>
                    <a:srgbClr val="000000"/>
                  </a:solidFill>
                  <a:latin typeface="Trebuchet MS"/>
                </a:rPr>
                <a:t>Algorithmen</a:t>
              </a:r>
              <a:r>
                <a:rPr lang="de-DE" sz="1440">
                  <a:solidFill>
                    <a:srgbClr val="000000"/>
                  </a:solidFill>
                  <a:latin typeface="Trebuchet MS"/>
                </a:rPr>
                <a:t> beschäftigt, die es Maschinen ermöglichen, </a:t>
              </a:r>
              <a:r>
                <a:rPr lang="de-DE" sz="1440" b="1">
                  <a:solidFill>
                    <a:srgbClr val="000000"/>
                  </a:solidFill>
                  <a:latin typeface="Trebuchet MS"/>
                </a:rPr>
                <a:t>aus</a:t>
              </a:r>
              <a:r>
                <a:rPr lang="de-DE" sz="1440">
                  <a:solidFill>
                    <a:srgbClr val="000000"/>
                  </a:solidFill>
                  <a:latin typeface="Trebuchet MS"/>
                </a:rPr>
                <a:t> </a:t>
              </a:r>
              <a:r>
                <a:rPr lang="de-DE" sz="1440" b="1">
                  <a:solidFill>
                    <a:srgbClr val="000000"/>
                  </a:solidFill>
                  <a:latin typeface="Trebuchet MS"/>
                </a:rPr>
                <a:t>Daten zu lernen </a:t>
              </a:r>
              <a:r>
                <a:rPr lang="de-DE" sz="1440">
                  <a:solidFill>
                    <a:srgbClr val="000000"/>
                  </a:solidFill>
                  <a:latin typeface="Trebuchet MS"/>
                </a:rPr>
                <a:t>und Vorhersagen zu treffen, </a:t>
              </a:r>
              <a:r>
                <a:rPr lang="de-DE" sz="1440" b="1">
                  <a:solidFill>
                    <a:srgbClr val="000000"/>
                  </a:solidFill>
                  <a:latin typeface="Trebuchet MS"/>
                </a:rPr>
                <a:t>ohne hierzu eine explizite Programmierung zu verwenden</a:t>
              </a:r>
              <a:r>
                <a:rPr lang="de-DE" sz="1440">
                  <a:solidFill>
                    <a:srgbClr val="000000"/>
                  </a:solidFill>
                  <a:latin typeface="Trebuchet MS"/>
                </a:rPr>
                <a:t>.</a:t>
              </a:r>
            </a:p>
            <a:p>
              <a:pPr marL="257176" indent="-257176" defTabSz="822960">
                <a:buFont typeface="Wingdings" panose="05000000000000000000" pitchFamily="2" charset="2"/>
                <a:buChar char="§"/>
                <a:defRPr/>
              </a:pPr>
              <a:endParaRPr lang="en-US" sz="1260">
                <a:solidFill>
                  <a:srgbClr val="889194">
                    <a:lumMod val="75000"/>
                  </a:srgbClr>
                </a:solidFill>
                <a:latin typeface="Trebuchet MS"/>
              </a:endParaRPr>
            </a:p>
          </p:txBody>
        </p:sp>
      </p:grpSp>
      <p:sp>
        <p:nvSpPr>
          <p:cNvPr id="18" name="Rectangle 12">
            <a:extLst>
              <a:ext uri="{FF2B5EF4-FFF2-40B4-BE49-F238E27FC236}">
                <a16:creationId xmlns:a16="http://schemas.microsoft.com/office/drawing/2014/main" id="{282CB218-B385-BA70-0486-E7F8F366B7D0}"/>
              </a:ext>
            </a:extLst>
          </p:cNvPr>
          <p:cNvSpPr/>
          <p:nvPr/>
        </p:nvSpPr>
        <p:spPr>
          <a:xfrm>
            <a:off x="3485351" y="4092842"/>
            <a:ext cx="2268000" cy="1652400"/>
          </a:xfrm>
          <a:prstGeom prst="rect">
            <a:avLst/>
          </a:prstGeom>
          <a:solidFill>
            <a:schemeClr val="bg1">
              <a:lumMod val="95000"/>
            </a:schemeClr>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97200" rtlCol="0" anchor="t"/>
          <a:lstStyle/>
          <a:p>
            <a:pPr algn="ctr" defTabSz="822960">
              <a:lnSpc>
                <a:spcPct val="120000"/>
              </a:lnSpc>
              <a:spcAft>
                <a:spcPts val="1080"/>
              </a:spcAft>
              <a:defRPr/>
            </a:pPr>
            <a:r>
              <a:rPr lang="en-US" sz="1440" b="1">
                <a:solidFill>
                  <a:srgbClr val="000000"/>
                </a:solidFill>
                <a:latin typeface="Trebuchet MS"/>
                <a:ea typeface="Roboto Light" charset="0"/>
                <a:cs typeface="Roboto Light" charset="0"/>
              </a:rPr>
              <a:t>Unsupervised Learning</a:t>
            </a:r>
          </a:p>
          <a:p>
            <a:pPr algn="ctr" defTabSz="822960">
              <a:lnSpc>
                <a:spcPct val="120000"/>
              </a:lnSpc>
              <a:defRPr/>
            </a:pPr>
            <a:r>
              <a:rPr lang="de-DE" sz="1260">
                <a:solidFill>
                  <a:srgbClr val="535353"/>
                </a:solidFill>
                <a:latin typeface="Trebuchet MS"/>
                <a:ea typeface="Roboto Light" charset="0"/>
                <a:cs typeface="Roboto Light" charset="0"/>
              </a:rPr>
              <a:t>Algorithmus versucht, Muster in bestehenden (unbeschrifteten) Daten zu finden</a:t>
            </a:r>
            <a:endParaRPr lang="en-US" sz="1260">
              <a:solidFill>
                <a:srgbClr val="535353"/>
              </a:solidFill>
              <a:latin typeface="Trebuchet MS"/>
              <a:ea typeface="Roboto Light" charset="0"/>
              <a:cs typeface="Roboto Light" charset="0"/>
            </a:endParaRPr>
          </a:p>
        </p:txBody>
      </p:sp>
      <p:sp>
        <p:nvSpPr>
          <p:cNvPr id="19" name="Rectangle 13">
            <a:extLst>
              <a:ext uri="{FF2B5EF4-FFF2-40B4-BE49-F238E27FC236}">
                <a16:creationId xmlns:a16="http://schemas.microsoft.com/office/drawing/2014/main" id="{3FBE7AB8-1BCD-11EF-EB55-479B0EEA3AA6}"/>
              </a:ext>
            </a:extLst>
          </p:cNvPr>
          <p:cNvSpPr/>
          <p:nvPr/>
        </p:nvSpPr>
        <p:spPr>
          <a:xfrm>
            <a:off x="5841569" y="4079812"/>
            <a:ext cx="2268000" cy="1652400"/>
          </a:xfrm>
          <a:prstGeom prst="rect">
            <a:avLst/>
          </a:prstGeom>
          <a:solidFill>
            <a:schemeClr val="bg1">
              <a:lumMod val="95000"/>
            </a:schemeClr>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97200" rtlCol="0" anchor="t"/>
          <a:lstStyle/>
          <a:p>
            <a:pPr algn="ctr" defTabSz="822960">
              <a:lnSpc>
                <a:spcPct val="120000"/>
              </a:lnSpc>
              <a:spcAft>
                <a:spcPts val="1080"/>
              </a:spcAft>
              <a:defRPr/>
            </a:pPr>
            <a:r>
              <a:rPr lang="en-US" sz="1440" b="1">
                <a:solidFill>
                  <a:srgbClr val="000000"/>
                </a:solidFill>
                <a:latin typeface="Trebuchet MS"/>
                <a:ea typeface="Roboto Light" charset="0"/>
                <a:cs typeface="Roboto Light" charset="0"/>
              </a:rPr>
              <a:t>Reinforcement Learning</a:t>
            </a:r>
          </a:p>
          <a:p>
            <a:pPr algn="ctr" defTabSz="822960">
              <a:lnSpc>
                <a:spcPct val="120000"/>
              </a:lnSpc>
              <a:defRPr/>
            </a:pPr>
            <a:r>
              <a:rPr lang="de-DE" sz="1260">
                <a:solidFill>
                  <a:srgbClr val="535353"/>
                </a:solidFill>
                <a:latin typeface="Trebuchet MS"/>
                <a:ea typeface="Roboto Light" charset="0"/>
                <a:cs typeface="Roboto Light" charset="0"/>
              </a:rPr>
              <a:t>Erlernen einer optimalen Strategie für ein gegebenes Problem auf Basis einer Anreizfunktion</a:t>
            </a:r>
          </a:p>
        </p:txBody>
      </p:sp>
      <p:sp>
        <p:nvSpPr>
          <p:cNvPr id="20" name="Rectangle 2">
            <a:extLst>
              <a:ext uri="{FF2B5EF4-FFF2-40B4-BE49-F238E27FC236}">
                <a16:creationId xmlns:a16="http://schemas.microsoft.com/office/drawing/2014/main" id="{4971E321-1EE2-556D-7008-1C17AAB7AD26}"/>
              </a:ext>
            </a:extLst>
          </p:cNvPr>
          <p:cNvSpPr/>
          <p:nvPr/>
        </p:nvSpPr>
        <p:spPr>
          <a:xfrm>
            <a:off x="1128198" y="4079814"/>
            <a:ext cx="2268000" cy="1652400"/>
          </a:xfrm>
          <a:prstGeom prst="rect">
            <a:avLst/>
          </a:prstGeom>
          <a:solidFill>
            <a:schemeClr val="bg1">
              <a:lumMod val="95000"/>
            </a:schemeClr>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97200" rtlCol="0" anchor="t"/>
          <a:lstStyle/>
          <a:p>
            <a:pPr algn="ctr" defTabSz="822960">
              <a:lnSpc>
                <a:spcPct val="120000"/>
              </a:lnSpc>
              <a:spcAft>
                <a:spcPts val="1080"/>
              </a:spcAft>
              <a:defRPr/>
            </a:pPr>
            <a:r>
              <a:rPr lang="en-US" sz="1440" b="1">
                <a:solidFill>
                  <a:srgbClr val="000000"/>
                </a:solidFill>
                <a:latin typeface="Trebuchet MS"/>
                <a:ea typeface="Roboto Light" charset="0"/>
                <a:cs typeface="Roboto Light" charset="0"/>
              </a:rPr>
              <a:t>Supervised Learning</a:t>
            </a:r>
          </a:p>
          <a:p>
            <a:pPr algn="ctr" defTabSz="822960">
              <a:lnSpc>
                <a:spcPct val="120000"/>
              </a:lnSpc>
              <a:defRPr/>
            </a:pPr>
            <a:r>
              <a:rPr lang="de-DE" sz="1260">
                <a:solidFill>
                  <a:srgbClr val="535353"/>
                </a:solidFill>
                <a:latin typeface="Trebuchet MS"/>
                <a:ea typeface="Roboto Light" charset="0"/>
                <a:cs typeface="Roboto Light" charset="0"/>
              </a:rPr>
              <a:t>Algorithmen, die mit vielen „beschrifteten“ Daten trainiert werden</a:t>
            </a:r>
            <a:endParaRPr lang="en-US" sz="1260" b="1">
              <a:solidFill>
                <a:srgbClr val="004080"/>
              </a:solidFill>
              <a:latin typeface="Trebuchet MS"/>
              <a:ea typeface="Roboto Light" charset="0"/>
              <a:cs typeface="Roboto Light" charset="0"/>
            </a:endParaRPr>
          </a:p>
        </p:txBody>
      </p:sp>
      <p:cxnSp>
        <p:nvCxnSpPr>
          <p:cNvPr id="21" name="Gewinkelter Verbinder 11">
            <a:extLst>
              <a:ext uri="{FF2B5EF4-FFF2-40B4-BE49-F238E27FC236}">
                <a16:creationId xmlns:a16="http://schemas.microsoft.com/office/drawing/2014/main" id="{4AE43C81-F53D-8FED-33EF-4C5172ADD92A}"/>
              </a:ext>
            </a:extLst>
          </p:cNvPr>
          <p:cNvCxnSpPr>
            <a:cxnSpLocks/>
            <a:stCxn id="20" idx="0"/>
            <a:endCxn id="24" idx="2"/>
          </p:cNvCxnSpPr>
          <p:nvPr/>
        </p:nvCxnSpPr>
        <p:spPr bwMode="auto">
          <a:xfrm rot="5400000" flipH="1" flipV="1">
            <a:off x="3289901" y="2750831"/>
            <a:ext cx="301283" cy="2356686"/>
          </a:xfrm>
          <a:prstGeom prst="bentConnector3">
            <a:avLst>
              <a:gd name="adj1" fmla="val 50000"/>
            </a:avLst>
          </a:prstGeom>
          <a:noFill/>
          <a:ln w="38100" cap="flat" cmpd="sng" algn="ctr">
            <a:solidFill>
              <a:schemeClr val="bg2"/>
            </a:solidFill>
            <a:prstDash val="solid"/>
            <a:round/>
            <a:headEnd type="none" w="med" len="med"/>
            <a:tailEnd type="none" w="med" len="med"/>
          </a:ln>
          <a:effectLst/>
        </p:spPr>
      </p:cxnSp>
      <p:cxnSp>
        <p:nvCxnSpPr>
          <p:cNvPr id="22" name="Gewinkelter Verbinder 12">
            <a:extLst>
              <a:ext uri="{FF2B5EF4-FFF2-40B4-BE49-F238E27FC236}">
                <a16:creationId xmlns:a16="http://schemas.microsoft.com/office/drawing/2014/main" id="{C58E3F27-A8C4-4081-DDC2-E83F5679FF30}"/>
              </a:ext>
            </a:extLst>
          </p:cNvPr>
          <p:cNvCxnSpPr>
            <a:cxnSpLocks/>
            <a:stCxn id="18" idx="0"/>
            <a:endCxn id="24" idx="2"/>
          </p:cNvCxnSpPr>
          <p:nvPr/>
        </p:nvCxnSpPr>
        <p:spPr bwMode="auto">
          <a:xfrm rot="16200000" flipV="1">
            <a:off x="4461964" y="3935456"/>
            <a:ext cx="314311" cy="467"/>
          </a:xfrm>
          <a:prstGeom prst="bentConnector3">
            <a:avLst/>
          </a:prstGeom>
          <a:noFill/>
          <a:ln w="38100" cap="flat" cmpd="sng" algn="ctr">
            <a:solidFill>
              <a:schemeClr val="bg2"/>
            </a:solidFill>
            <a:prstDash val="solid"/>
            <a:round/>
            <a:headEnd type="none" w="med" len="med"/>
            <a:tailEnd type="none" w="med" len="med"/>
          </a:ln>
          <a:effectLst/>
        </p:spPr>
      </p:cxnSp>
      <p:cxnSp>
        <p:nvCxnSpPr>
          <p:cNvPr id="23" name="Gewinkelter Verbinder 13">
            <a:extLst>
              <a:ext uri="{FF2B5EF4-FFF2-40B4-BE49-F238E27FC236}">
                <a16:creationId xmlns:a16="http://schemas.microsoft.com/office/drawing/2014/main" id="{DAC102D7-DF11-5395-ED0C-0091629A1020}"/>
              </a:ext>
            </a:extLst>
          </p:cNvPr>
          <p:cNvCxnSpPr>
            <a:cxnSpLocks/>
            <a:stCxn id="19" idx="0"/>
            <a:endCxn id="24" idx="2"/>
          </p:cNvCxnSpPr>
          <p:nvPr/>
        </p:nvCxnSpPr>
        <p:spPr bwMode="auto">
          <a:xfrm rot="16200000" flipV="1">
            <a:off x="5646589" y="2750830"/>
            <a:ext cx="301280" cy="2356685"/>
          </a:xfrm>
          <a:prstGeom prst="bentConnector3">
            <a:avLst>
              <a:gd name="adj1" fmla="val 50000"/>
            </a:avLst>
          </a:prstGeom>
          <a:noFill/>
          <a:ln w="38100" cap="flat" cmpd="sng" algn="ctr">
            <a:solidFill>
              <a:schemeClr val="bg2"/>
            </a:solidFill>
            <a:prstDash val="solid"/>
            <a:round/>
            <a:headEnd type="none" w="med" len="med"/>
            <a:tailEnd type="none" w="med" len="med"/>
          </a:ln>
          <a:effectLst/>
        </p:spPr>
      </p:cxnSp>
      <p:sp>
        <p:nvSpPr>
          <p:cNvPr id="24" name="Rectangle 2">
            <a:extLst>
              <a:ext uri="{FF2B5EF4-FFF2-40B4-BE49-F238E27FC236}">
                <a16:creationId xmlns:a16="http://schemas.microsoft.com/office/drawing/2014/main" id="{CC342BE6-7DDE-32FD-62CF-52EDD5F8092D}"/>
              </a:ext>
            </a:extLst>
          </p:cNvPr>
          <p:cNvSpPr/>
          <p:nvPr/>
        </p:nvSpPr>
        <p:spPr>
          <a:xfrm>
            <a:off x="1128201" y="3454531"/>
            <a:ext cx="6981371" cy="324000"/>
          </a:xfrm>
          <a:prstGeom prst="rect">
            <a:avLst/>
          </a:prstGeom>
          <a:solidFill>
            <a:schemeClr val="tx2"/>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de-DE" sz="1440" b="1">
                <a:solidFill>
                  <a:srgbClr val="FFFFFF"/>
                </a:solidFill>
                <a:latin typeface="Trebuchet MS"/>
              </a:rPr>
              <a:t>Varianten</a:t>
            </a:r>
          </a:p>
        </p:txBody>
      </p:sp>
    </p:spTree>
    <p:extLst>
      <p:ext uri="{BB962C8B-B14F-4D97-AF65-F5344CB8AC3E}">
        <p14:creationId xmlns:p14="http://schemas.microsoft.com/office/powerpoint/2010/main" val="38451034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505C1-AD1B-7419-B43E-DF4EEEC6201B}"/>
              </a:ext>
            </a:extLst>
          </p:cNvPr>
          <p:cNvSpPr>
            <a:spLocks noGrp="1"/>
          </p:cNvSpPr>
          <p:nvPr>
            <p:ph type="title"/>
          </p:nvPr>
        </p:nvSpPr>
        <p:spPr/>
        <p:txBody>
          <a:bodyPr/>
          <a:lstStyle/>
          <a:p>
            <a:r>
              <a:rPr lang="de-DE"/>
              <a:t>Was </a:t>
            </a:r>
            <a:r>
              <a:rPr lang="de-DE" err="1"/>
              <a:t>Machine</a:t>
            </a:r>
            <a:r>
              <a:rPr lang="de-DE"/>
              <a:t> Learning von klassischer Modellierung unterscheidet </a:t>
            </a:r>
          </a:p>
        </p:txBody>
      </p:sp>
      <p:sp>
        <p:nvSpPr>
          <p:cNvPr id="4" name="Foliennummernplatzhalter 3">
            <a:extLst>
              <a:ext uri="{FF2B5EF4-FFF2-40B4-BE49-F238E27FC236}">
                <a16:creationId xmlns:a16="http://schemas.microsoft.com/office/drawing/2014/main" id="{D7EFACED-2A84-CD77-B7E8-06EFBCE07E8E}"/>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26</a:t>
            </a:fld>
            <a:endParaRPr lang="en-US" sz="810">
              <a:solidFill>
                <a:srgbClr val="889194"/>
              </a:solidFill>
              <a:latin typeface="Trebuchet MS"/>
            </a:endParaRPr>
          </a:p>
        </p:txBody>
      </p:sp>
      <p:sp>
        <p:nvSpPr>
          <p:cNvPr id="12" name="Rechteck: abgerundete Ecken 11">
            <a:extLst>
              <a:ext uri="{FF2B5EF4-FFF2-40B4-BE49-F238E27FC236}">
                <a16:creationId xmlns:a16="http://schemas.microsoft.com/office/drawing/2014/main" id="{56A41F9D-52D1-4B00-E500-E2C85D88E040}"/>
              </a:ext>
            </a:extLst>
          </p:cNvPr>
          <p:cNvSpPr/>
          <p:nvPr/>
        </p:nvSpPr>
        <p:spPr>
          <a:xfrm>
            <a:off x="8501198" y="1584688"/>
            <a:ext cx="2732806" cy="4241755"/>
          </a:xfrm>
          <a:prstGeom prst="roundRect">
            <a:avLst/>
          </a:prstGeom>
          <a:solidFill>
            <a:schemeClr val="accent4"/>
          </a:solidFill>
          <a:ln>
            <a:solidFill>
              <a:schemeClr val="tx2"/>
            </a:solid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en-US" sz="1300" dirty="0">
                <a:solidFill>
                  <a:srgbClr val="004080"/>
                </a:solidFill>
                <a:latin typeface="Arial" panose="020B0604020202020204" pitchFamily="34" charset="0"/>
                <a:cs typeface="Arial" panose="020B0604020202020204" pitchFamily="34" charset="0"/>
              </a:rPr>
              <a:t>ARTIFICAL INTELLIGENCE</a:t>
            </a:r>
          </a:p>
        </p:txBody>
      </p:sp>
      <p:sp>
        <p:nvSpPr>
          <p:cNvPr id="13" name="Rechteck: abgerundete Ecken 12">
            <a:extLst>
              <a:ext uri="{FF2B5EF4-FFF2-40B4-BE49-F238E27FC236}">
                <a16:creationId xmlns:a16="http://schemas.microsoft.com/office/drawing/2014/main" id="{AC73AF18-C574-EA46-C634-57CA816E5DE2}"/>
              </a:ext>
            </a:extLst>
          </p:cNvPr>
          <p:cNvSpPr/>
          <p:nvPr/>
        </p:nvSpPr>
        <p:spPr>
          <a:xfrm>
            <a:off x="8514057" y="2069161"/>
            <a:ext cx="2176502" cy="3703805"/>
          </a:xfrm>
          <a:prstGeom prst="roundRect">
            <a:avLst/>
          </a:prstGeom>
          <a:solidFill>
            <a:schemeClr val="accent2">
              <a:lumMod val="40000"/>
              <a:lumOff val="60000"/>
            </a:schemeClr>
          </a:solidFill>
          <a:ln>
            <a:no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de-DE" sz="990">
                <a:solidFill>
                  <a:srgbClr val="004080"/>
                </a:solidFill>
                <a:latin typeface="Arial" panose="020B0604020202020204" pitchFamily="34" charset="0"/>
                <a:cs typeface="Arial" panose="020B0604020202020204" pitchFamily="34" charset="0"/>
              </a:rPr>
              <a:t>MACHINE LEARNING</a:t>
            </a:r>
          </a:p>
        </p:txBody>
      </p:sp>
      <p:sp>
        <p:nvSpPr>
          <p:cNvPr id="8" name="Rechteck 7">
            <a:extLst>
              <a:ext uri="{FF2B5EF4-FFF2-40B4-BE49-F238E27FC236}">
                <a16:creationId xmlns:a16="http://schemas.microsoft.com/office/drawing/2014/main" id="{0165BF86-C0CB-1232-B7DB-E8F92D06187A}"/>
              </a:ext>
            </a:extLst>
          </p:cNvPr>
          <p:cNvSpPr/>
          <p:nvPr/>
        </p:nvSpPr>
        <p:spPr bwMode="auto">
          <a:xfrm rot="16200000">
            <a:off x="834676" y="2229810"/>
            <a:ext cx="1072898" cy="505836"/>
          </a:xfrm>
          <a:prstGeom prst="rect">
            <a:avLst/>
          </a:prstGeom>
          <a:solidFill>
            <a:schemeClr val="tx2"/>
          </a:solidFill>
          <a:ln w="12700" cap="flat" cmpd="sng" algn="ctr">
            <a:solidFill>
              <a:schemeClr val="tx2"/>
            </a:solid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260">
                <a:solidFill>
                  <a:srgbClr val="FFFFFF"/>
                </a:solidFill>
              </a:rPr>
              <a:t>Prognose</a:t>
            </a:r>
            <a:endParaRPr lang="de-DE" sz="1080">
              <a:solidFill>
                <a:srgbClr val="FFFFFF"/>
              </a:solidFill>
            </a:endParaRPr>
          </a:p>
        </p:txBody>
      </p:sp>
      <p:sp>
        <p:nvSpPr>
          <p:cNvPr id="10" name="Rechteck 9">
            <a:extLst>
              <a:ext uri="{FF2B5EF4-FFF2-40B4-BE49-F238E27FC236}">
                <a16:creationId xmlns:a16="http://schemas.microsoft.com/office/drawing/2014/main" id="{0719FF97-052F-416A-34B9-39190744A7D1}"/>
              </a:ext>
            </a:extLst>
          </p:cNvPr>
          <p:cNvSpPr/>
          <p:nvPr/>
        </p:nvSpPr>
        <p:spPr bwMode="auto">
          <a:xfrm>
            <a:off x="1815416" y="2309086"/>
            <a:ext cx="1190968" cy="4212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080" b="1" dirty="0">
                <a:solidFill>
                  <a:srgbClr val="000000"/>
                </a:solidFill>
              </a:rPr>
              <a:t>Daten</a:t>
            </a:r>
          </a:p>
        </p:txBody>
      </p:sp>
      <p:sp>
        <p:nvSpPr>
          <p:cNvPr id="11" name="Rechteck 10">
            <a:extLst>
              <a:ext uri="{FF2B5EF4-FFF2-40B4-BE49-F238E27FC236}">
                <a16:creationId xmlns:a16="http://schemas.microsoft.com/office/drawing/2014/main" id="{2436AABB-6EB8-0830-CF34-414308755D95}"/>
              </a:ext>
            </a:extLst>
          </p:cNvPr>
          <p:cNvSpPr/>
          <p:nvPr/>
        </p:nvSpPr>
        <p:spPr bwMode="auto">
          <a:xfrm>
            <a:off x="1033813" y="1612828"/>
            <a:ext cx="2270531" cy="304699"/>
          </a:xfrm>
          <a:prstGeom prst="rect">
            <a:avLst/>
          </a:prstGeom>
          <a:solidFill>
            <a:schemeClr val="bg1"/>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spAutoFit/>
          </a:bodyPr>
          <a:lstStyle/>
          <a:p>
            <a:pPr defTabSz="901542">
              <a:defRPr/>
            </a:pPr>
            <a:r>
              <a:rPr lang="de-DE" sz="1440" b="1">
                <a:solidFill>
                  <a:srgbClr val="004080"/>
                </a:solidFill>
              </a:rPr>
              <a:t>Klassische Modellierung</a:t>
            </a:r>
          </a:p>
        </p:txBody>
      </p:sp>
      <p:sp>
        <p:nvSpPr>
          <p:cNvPr id="25" name="Rechteck 24">
            <a:extLst>
              <a:ext uri="{FF2B5EF4-FFF2-40B4-BE49-F238E27FC236}">
                <a16:creationId xmlns:a16="http://schemas.microsoft.com/office/drawing/2014/main" id="{8F2D2449-A7BF-1BC4-B4FB-229D69974BCA}"/>
              </a:ext>
            </a:extLst>
          </p:cNvPr>
          <p:cNvSpPr/>
          <p:nvPr/>
        </p:nvSpPr>
        <p:spPr bwMode="auto">
          <a:xfrm>
            <a:off x="4197726" y="2309086"/>
            <a:ext cx="1190968" cy="4212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080" b="1">
                <a:solidFill>
                  <a:srgbClr val="000000"/>
                </a:solidFill>
                <a:latin typeface="Trebuchet MS"/>
              </a:rPr>
              <a:t>Handgefertigtes Modell</a:t>
            </a:r>
          </a:p>
        </p:txBody>
      </p:sp>
      <p:sp>
        <p:nvSpPr>
          <p:cNvPr id="26" name="Rechteck 25">
            <a:extLst>
              <a:ext uri="{FF2B5EF4-FFF2-40B4-BE49-F238E27FC236}">
                <a16:creationId xmlns:a16="http://schemas.microsoft.com/office/drawing/2014/main" id="{57ECE29C-7E99-25F4-88D1-81AE1C17C861}"/>
              </a:ext>
            </a:extLst>
          </p:cNvPr>
          <p:cNvSpPr/>
          <p:nvPr/>
        </p:nvSpPr>
        <p:spPr bwMode="auto">
          <a:xfrm>
            <a:off x="6580037" y="2309086"/>
            <a:ext cx="1190968" cy="4212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080" b="1">
                <a:solidFill>
                  <a:srgbClr val="000000"/>
                </a:solidFill>
              </a:rPr>
              <a:t>Ergebnis</a:t>
            </a:r>
          </a:p>
        </p:txBody>
      </p:sp>
      <p:sp>
        <p:nvSpPr>
          <p:cNvPr id="27" name="Rechteck 26">
            <a:extLst>
              <a:ext uri="{FF2B5EF4-FFF2-40B4-BE49-F238E27FC236}">
                <a16:creationId xmlns:a16="http://schemas.microsoft.com/office/drawing/2014/main" id="{D7F4543A-1D8C-461C-41DE-2CD05847B94F}"/>
              </a:ext>
            </a:extLst>
          </p:cNvPr>
          <p:cNvSpPr/>
          <p:nvPr/>
        </p:nvSpPr>
        <p:spPr bwMode="auto">
          <a:xfrm>
            <a:off x="1815416" y="3686552"/>
            <a:ext cx="1190968" cy="4212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080" b="1">
                <a:solidFill>
                  <a:srgbClr val="000000"/>
                </a:solidFill>
                <a:latin typeface="Trebuchet MS"/>
              </a:rPr>
              <a:t>Beispield</a:t>
            </a:r>
            <a:r>
              <a:rPr lang="de-DE" sz="1080" b="1">
                <a:solidFill>
                  <a:srgbClr val="000000"/>
                </a:solidFill>
              </a:rPr>
              <a:t>aten</a:t>
            </a:r>
          </a:p>
        </p:txBody>
      </p:sp>
      <p:sp>
        <p:nvSpPr>
          <p:cNvPr id="28" name="Rechteck 27">
            <a:extLst>
              <a:ext uri="{FF2B5EF4-FFF2-40B4-BE49-F238E27FC236}">
                <a16:creationId xmlns:a16="http://schemas.microsoft.com/office/drawing/2014/main" id="{BE63ABED-A37A-9885-704A-9CAFE72D2FDF}"/>
              </a:ext>
            </a:extLst>
          </p:cNvPr>
          <p:cNvSpPr/>
          <p:nvPr/>
        </p:nvSpPr>
        <p:spPr bwMode="auto">
          <a:xfrm>
            <a:off x="1033811" y="3182229"/>
            <a:ext cx="4461502" cy="304699"/>
          </a:xfrm>
          <a:prstGeom prst="rect">
            <a:avLst/>
          </a:prstGeom>
          <a:solidFill>
            <a:schemeClr val="bg1"/>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spAutoFit/>
          </a:bodyPr>
          <a:lstStyle/>
          <a:p>
            <a:pPr defTabSz="901542">
              <a:defRPr/>
            </a:pPr>
            <a:r>
              <a:rPr lang="de-DE" sz="1440" b="1" dirty="0" err="1">
                <a:solidFill>
                  <a:srgbClr val="004080"/>
                </a:solidFill>
              </a:rPr>
              <a:t>Machine</a:t>
            </a:r>
            <a:r>
              <a:rPr lang="de-DE" sz="1440" b="1" dirty="0">
                <a:solidFill>
                  <a:srgbClr val="004080"/>
                </a:solidFill>
              </a:rPr>
              <a:t> Learning (</a:t>
            </a:r>
            <a:r>
              <a:rPr lang="de-DE" sz="1440" b="1" dirty="0" err="1">
                <a:solidFill>
                  <a:srgbClr val="004080"/>
                </a:solidFill>
              </a:rPr>
              <a:t>Supervised</a:t>
            </a:r>
            <a:r>
              <a:rPr lang="de-DE" sz="1440" b="1" dirty="0">
                <a:solidFill>
                  <a:srgbClr val="004080"/>
                </a:solidFill>
              </a:rPr>
              <a:t> Learning Ansatz)</a:t>
            </a:r>
          </a:p>
        </p:txBody>
      </p:sp>
      <p:sp>
        <p:nvSpPr>
          <p:cNvPr id="29" name="Rechteck 28">
            <a:extLst>
              <a:ext uri="{FF2B5EF4-FFF2-40B4-BE49-F238E27FC236}">
                <a16:creationId xmlns:a16="http://schemas.microsoft.com/office/drawing/2014/main" id="{F866E4A0-FE34-9502-DB83-BF7F2E7C972E}"/>
              </a:ext>
            </a:extLst>
          </p:cNvPr>
          <p:cNvSpPr/>
          <p:nvPr/>
        </p:nvSpPr>
        <p:spPr bwMode="auto">
          <a:xfrm>
            <a:off x="1815416" y="4257589"/>
            <a:ext cx="1190968" cy="4212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080" b="1">
                <a:solidFill>
                  <a:srgbClr val="000000"/>
                </a:solidFill>
              </a:rPr>
              <a:t>Erwartetes Ergebnis</a:t>
            </a:r>
          </a:p>
        </p:txBody>
      </p:sp>
      <p:sp>
        <p:nvSpPr>
          <p:cNvPr id="30" name="Rechteck 29">
            <a:extLst>
              <a:ext uri="{FF2B5EF4-FFF2-40B4-BE49-F238E27FC236}">
                <a16:creationId xmlns:a16="http://schemas.microsoft.com/office/drawing/2014/main" id="{4655EBFE-FB6B-F91B-C102-270150BE8F81}"/>
              </a:ext>
            </a:extLst>
          </p:cNvPr>
          <p:cNvSpPr/>
          <p:nvPr/>
        </p:nvSpPr>
        <p:spPr bwMode="auto">
          <a:xfrm>
            <a:off x="3522743" y="3972071"/>
            <a:ext cx="1190968" cy="4212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080" b="1">
                <a:solidFill>
                  <a:srgbClr val="000000"/>
                </a:solidFill>
              </a:rPr>
              <a:t>Algorithmus</a:t>
            </a:r>
          </a:p>
        </p:txBody>
      </p:sp>
      <p:sp>
        <p:nvSpPr>
          <p:cNvPr id="31" name="Rechteck 30">
            <a:extLst>
              <a:ext uri="{FF2B5EF4-FFF2-40B4-BE49-F238E27FC236}">
                <a16:creationId xmlns:a16="http://schemas.microsoft.com/office/drawing/2014/main" id="{1A12449C-B60E-3B5D-B1CE-EEAA8FD3A0CE}"/>
              </a:ext>
            </a:extLst>
          </p:cNvPr>
          <p:cNvSpPr/>
          <p:nvPr/>
        </p:nvSpPr>
        <p:spPr bwMode="auto">
          <a:xfrm>
            <a:off x="3522743" y="5205545"/>
            <a:ext cx="1190968" cy="4212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080" b="1">
                <a:solidFill>
                  <a:srgbClr val="000000"/>
                </a:solidFill>
                <a:latin typeface="Trebuchet MS"/>
              </a:rPr>
              <a:t>Neue </a:t>
            </a:r>
            <a:r>
              <a:rPr lang="de-DE" sz="1080" b="1">
                <a:solidFill>
                  <a:srgbClr val="000000"/>
                </a:solidFill>
              </a:rPr>
              <a:t>Daten</a:t>
            </a:r>
          </a:p>
        </p:txBody>
      </p:sp>
      <p:sp>
        <p:nvSpPr>
          <p:cNvPr id="32" name="Rechteck 31">
            <a:extLst>
              <a:ext uri="{FF2B5EF4-FFF2-40B4-BE49-F238E27FC236}">
                <a16:creationId xmlns:a16="http://schemas.microsoft.com/office/drawing/2014/main" id="{6A472AC2-173C-4622-EB02-10A363E3CAA7}"/>
              </a:ext>
            </a:extLst>
          </p:cNvPr>
          <p:cNvSpPr/>
          <p:nvPr/>
        </p:nvSpPr>
        <p:spPr bwMode="auto">
          <a:xfrm>
            <a:off x="5051391" y="3972071"/>
            <a:ext cx="1190968" cy="4212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080" b="1">
                <a:solidFill>
                  <a:srgbClr val="000000"/>
                </a:solidFill>
              </a:rPr>
              <a:t>Trainiertes Modell</a:t>
            </a:r>
          </a:p>
        </p:txBody>
      </p:sp>
      <p:sp>
        <p:nvSpPr>
          <p:cNvPr id="33" name="Rechteck 32">
            <a:extLst>
              <a:ext uri="{FF2B5EF4-FFF2-40B4-BE49-F238E27FC236}">
                <a16:creationId xmlns:a16="http://schemas.microsoft.com/office/drawing/2014/main" id="{01D9CCAE-AF14-4866-9FC5-396AD8AD9402}"/>
              </a:ext>
            </a:extLst>
          </p:cNvPr>
          <p:cNvSpPr/>
          <p:nvPr/>
        </p:nvSpPr>
        <p:spPr bwMode="auto">
          <a:xfrm>
            <a:off x="6580038" y="5205545"/>
            <a:ext cx="1190968" cy="4212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080" b="1">
                <a:solidFill>
                  <a:srgbClr val="000000"/>
                </a:solidFill>
              </a:rPr>
              <a:t>Ergebnis</a:t>
            </a:r>
          </a:p>
        </p:txBody>
      </p:sp>
      <p:sp>
        <p:nvSpPr>
          <p:cNvPr id="34" name="Additionszeichen 33">
            <a:extLst>
              <a:ext uri="{FF2B5EF4-FFF2-40B4-BE49-F238E27FC236}">
                <a16:creationId xmlns:a16="http://schemas.microsoft.com/office/drawing/2014/main" id="{76B7F746-866A-3858-AEF4-44DF43B8A34A}"/>
              </a:ext>
            </a:extLst>
          </p:cNvPr>
          <p:cNvSpPr/>
          <p:nvPr/>
        </p:nvSpPr>
        <p:spPr bwMode="auto">
          <a:xfrm>
            <a:off x="2346096" y="4117871"/>
            <a:ext cx="129600" cy="129600"/>
          </a:xfrm>
          <a:prstGeom prst="mathPlus">
            <a:avLst>
              <a:gd name="adj1" fmla="val 14701"/>
            </a:avLst>
          </a:prstGeom>
          <a:solidFill>
            <a:schemeClr val="tx2"/>
          </a:solidFill>
          <a:ln w="12700" cap="flat" cmpd="sng" algn="ctr">
            <a:solidFill>
              <a:schemeClr val="tx2"/>
            </a:solid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defRPr/>
            </a:pPr>
            <a:endParaRPr lang="en-GB" sz="1440">
              <a:solidFill>
                <a:srgbClr val="000000"/>
              </a:solidFill>
            </a:endParaRPr>
          </a:p>
        </p:txBody>
      </p:sp>
      <p:sp>
        <p:nvSpPr>
          <p:cNvPr id="35" name="Rechteck 34">
            <a:extLst>
              <a:ext uri="{FF2B5EF4-FFF2-40B4-BE49-F238E27FC236}">
                <a16:creationId xmlns:a16="http://schemas.microsoft.com/office/drawing/2014/main" id="{512F5D7D-1087-EE7A-F91C-444E8E9999B1}"/>
              </a:ext>
            </a:extLst>
          </p:cNvPr>
          <p:cNvSpPr/>
          <p:nvPr/>
        </p:nvSpPr>
        <p:spPr bwMode="auto">
          <a:xfrm>
            <a:off x="5051391" y="5205545"/>
            <a:ext cx="1190968" cy="4212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080" b="1">
                <a:solidFill>
                  <a:srgbClr val="000000"/>
                </a:solidFill>
              </a:rPr>
              <a:t>Trainiertes Modell</a:t>
            </a:r>
          </a:p>
        </p:txBody>
      </p:sp>
      <p:sp>
        <p:nvSpPr>
          <p:cNvPr id="36" name="Rechteck 35">
            <a:extLst>
              <a:ext uri="{FF2B5EF4-FFF2-40B4-BE49-F238E27FC236}">
                <a16:creationId xmlns:a16="http://schemas.microsoft.com/office/drawing/2014/main" id="{5D256553-5CF3-70B3-4C31-74220E8D866A}"/>
              </a:ext>
            </a:extLst>
          </p:cNvPr>
          <p:cNvSpPr/>
          <p:nvPr/>
        </p:nvSpPr>
        <p:spPr bwMode="auto">
          <a:xfrm rot="16200000">
            <a:off x="759497" y="3895762"/>
            <a:ext cx="1223256" cy="505835"/>
          </a:xfrm>
          <a:prstGeom prst="rect">
            <a:avLst/>
          </a:prstGeom>
          <a:solidFill>
            <a:schemeClr val="tx2"/>
          </a:solidFill>
          <a:ln w="12700" cap="flat" cmpd="sng" algn="ctr">
            <a:solidFill>
              <a:schemeClr val="tx2"/>
            </a:solid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260">
                <a:solidFill>
                  <a:srgbClr val="FFFFFF"/>
                </a:solidFill>
              </a:rPr>
              <a:t>Lernprozess</a:t>
            </a:r>
            <a:endParaRPr lang="de-DE" sz="1080">
              <a:solidFill>
                <a:srgbClr val="FFFFFF"/>
              </a:solidFill>
            </a:endParaRPr>
          </a:p>
        </p:txBody>
      </p:sp>
      <p:sp>
        <p:nvSpPr>
          <p:cNvPr id="37" name="Rechteck 36">
            <a:extLst>
              <a:ext uri="{FF2B5EF4-FFF2-40B4-BE49-F238E27FC236}">
                <a16:creationId xmlns:a16="http://schemas.microsoft.com/office/drawing/2014/main" id="{8D4E3346-60B7-1B98-A67D-AE9B2C10427C}"/>
              </a:ext>
            </a:extLst>
          </p:cNvPr>
          <p:cNvSpPr/>
          <p:nvPr/>
        </p:nvSpPr>
        <p:spPr bwMode="auto">
          <a:xfrm rot="16200000">
            <a:off x="759497" y="5206004"/>
            <a:ext cx="1223256" cy="505836"/>
          </a:xfrm>
          <a:prstGeom prst="rect">
            <a:avLst/>
          </a:prstGeom>
          <a:solidFill>
            <a:schemeClr val="tx2"/>
          </a:solidFill>
          <a:ln w="12700" cap="flat" cmpd="sng" algn="ctr">
            <a:solidFill>
              <a:schemeClr val="tx2"/>
            </a:solid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260">
                <a:solidFill>
                  <a:srgbClr val="FFFFFF"/>
                </a:solidFill>
              </a:rPr>
              <a:t>Prognose</a:t>
            </a:r>
            <a:endParaRPr lang="de-DE" sz="1080">
              <a:solidFill>
                <a:srgbClr val="FFFFFF"/>
              </a:solidFill>
            </a:endParaRPr>
          </a:p>
        </p:txBody>
      </p:sp>
      <p:cxnSp>
        <p:nvCxnSpPr>
          <p:cNvPr id="38" name="Verbinder: gewinkelt 37">
            <a:extLst>
              <a:ext uri="{FF2B5EF4-FFF2-40B4-BE49-F238E27FC236}">
                <a16:creationId xmlns:a16="http://schemas.microsoft.com/office/drawing/2014/main" id="{29755034-3108-BCFF-9033-2B722014C8BB}"/>
              </a:ext>
            </a:extLst>
          </p:cNvPr>
          <p:cNvCxnSpPr>
            <a:stCxn id="27" idx="3"/>
            <a:endCxn id="30" idx="1"/>
          </p:cNvCxnSpPr>
          <p:nvPr/>
        </p:nvCxnSpPr>
        <p:spPr bwMode="auto">
          <a:xfrm>
            <a:off x="3006382" y="3897153"/>
            <a:ext cx="516361" cy="285518"/>
          </a:xfrm>
          <a:prstGeom prst="bentConnector3">
            <a:avLst/>
          </a:prstGeom>
          <a:noFill/>
          <a:ln w="19050" cap="flat" cmpd="sng" algn="ctr">
            <a:solidFill>
              <a:srgbClr val="646464"/>
            </a:solidFill>
            <a:prstDash val="solid"/>
            <a:round/>
            <a:headEnd type="none" w="med" len="med"/>
            <a:tailEnd type="triangle"/>
          </a:ln>
          <a:effectLst/>
        </p:spPr>
      </p:cxnSp>
      <p:cxnSp>
        <p:nvCxnSpPr>
          <p:cNvPr id="39" name="Verbinder: gewinkelt 38">
            <a:extLst>
              <a:ext uri="{FF2B5EF4-FFF2-40B4-BE49-F238E27FC236}">
                <a16:creationId xmlns:a16="http://schemas.microsoft.com/office/drawing/2014/main" id="{6FB1E9B3-6B4D-0E89-77EC-7CA7F7755C31}"/>
              </a:ext>
            </a:extLst>
          </p:cNvPr>
          <p:cNvCxnSpPr>
            <a:cxnSpLocks/>
            <a:stCxn id="29" idx="3"/>
            <a:endCxn id="30" idx="1"/>
          </p:cNvCxnSpPr>
          <p:nvPr/>
        </p:nvCxnSpPr>
        <p:spPr bwMode="auto">
          <a:xfrm flipV="1">
            <a:off x="3006382" y="4182672"/>
            <a:ext cx="516361" cy="285518"/>
          </a:xfrm>
          <a:prstGeom prst="bentConnector3">
            <a:avLst/>
          </a:prstGeom>
          <a:noFill/>
          <a:ln w="19050" cap="flat" cmpd="sng" algn="ctr">
            <a:solidFill>
              <a:srgbClr val="646464"/>
            </a:solidFill>
            <a:prstDash val="solid"/>
            <a:round/>
            <a:headEnd type="none" w="med" len="med"/>
            <a:tailEnd type="triangle"/>
          </a:ln>
          <a:effectLst/>
        </p:spPr>
      </p:cxnSp>
      <p:cxnSp>
        <p:nvCxnSpPr>
          <p:cNvPr id="40" name="Gerade Verbindung mit Pfeil 39">
            <a:extLst>
              <a:ext uri="{FF2B5EF4-FFF2-40B4-BE49-F238E27FC236}">
                <a16:creationId xmlns:a16="http://schemas.microsoft.com/office/drawing/2014/main" id="{52E024E3-6C64-E73E-CBDE-0272523DD9FE}"/>
              </a:ext>
            </a:extLst>
          </p:cNvPr>
          <p:cNvCxnSpPr>
            <a:stCxn id="30" idx="3"/>
            <a:endCxn id="32" idx="1"/>
          </p:cNvCxnSpPr>
          <p:nvPr/>
        </p:nvCxnSpPr>
        <p:spPr bwMode="auto">
          <a:xfrm>
            <a:off x="4713708" y="4182671"/>
            <a:ext cx="337680" cy="0"/>
          </a:xfrm>
          <a:prstGeom prst="straightConnector1">
            <a:avLst/>
          </a:prstGeom>
          <a:noFill/>
          <a:ln w="19050" cap="flat" cmpd="sng" algn="ctr">
            <a:solidFill>
              <a:srgbClr val="646464"/>
            </a:solidFill>
            <a:prstDash val="solid"/>
            <a:round/>
            <a:headEnd type="none" w="med" len="med"/>
            <a:tailEnd type="triangle"/>
          </a:ln>
          <a:effectLst/>
        </p:spPr>
      </p:cxnSp>
      <p:cxnSp>
        <p:nvCxnSpPr>
          <p:cNvPr id="41" name="Gerader Verbinder 40">
            <a:extLst>
              <a:ext uri="{FF2B5EF4-FFF2-40B4-BE49-F238E27FC236}">
                <a16:creationId xmlns:a16="http://schemas.microsoft.com/office/drawing/2014/main" id="{D03DFF53-673A-C5CD-204E-0E81FC1A3E07}"/>
              </a:ext>
            </a:extLst>
          </p:cNvPr>
          <p:cNvCxnSpPr>
            <a:stCxn id="32" idx="2"/>
            <a:endCxn id="35" idx="0"/>
          </p:cNvCxnSpPr>
          <p:nvPr/>
        </p:nvCxnSpPr>
        <p:spPr bwMode="auto">
          <a:xfrm>
            <a:off x="5646874" y="4393273"/>
            <a:ext cx="0" cy="812274"/>
          </a:xfrm>
          <a:prstGeom prst="line">
            <a:avLst/>
          </a:prstGeom>
          <a:noFill/>
          <a:ln w="19050" cap="flat" cmpd="sng" algn="ctr">
            <a:solidFill>
              <a:srgbClr val="646464"/>
            </a:solidFill>
            <a:prstDash val="dash"/>
            <a:round/>
            <a:headEnd type="none" w="med" len="med"/>
            <a:tailEnd type="none" w="med" len="med"/>
          </a:ln>
          <a:effectLst/>
        </p:spPr>
      </p:cxnSp>
      <p:cxnSp>
        <p:nvCxnSpPr>
          <p:cNvPr id="42" name="Gerade Verbindung mit Pfeil 41">
            <a:extLst>
              <a:ext uri="{FF2B5EF4-FFF2-40B4-BE49-F238E27FC236}">
                <a16:creationId xmlns:a16="http://schemas.microsoft.com/office/drawing/2014/main" id="{3A563457-FBA7-7231-362C-BAF0C626BF3D}"/>
              </a:ext>
            </a:extLst>
          </p:cNvPr>
          <p:cNvCxnSpPr>
            <a:stCxn id="31" idx="3"/>
            <a:endCxn id="35" idx="1"/>
          </p:cNvCxnSpPr>
          <p:nvPr/>
        </p:nvCxnSpPr>
        <p:spPr bwMode="auto">
          <a:xfrm>
            <a:off x="4713708" y="5416145"/>
            <a:ext cx="337680" cy="0"/>
          </a:xfrm>
          <a:prstGeom prst="straightConnector1">
            <a:avLst/>
          </a:prstGeom>
          <a:noFill/>
          <a:ln w="19050" cap="flat" cmpd="sng" algn="ctr">
            <a:solidFill>
              <a:srgbClr val="646464"/>
            </a:solidFill>
            <a:prstDash val="solid"/>
            <a:round/>
            <a:headEnd type="none" w="med" len="med"/>
            <a:tailEnd type="triangle"/>
          </a:ln>
          <a:effectLst/>
        </p:spPr>
      </p:cxnSp>
      <p:cxnSp>
        <p:nvCxnSpPr>
          <p:cNvPr id="43" name="Gerade Verbindung mit Pfeil 42">
            <a:extLst>
              <a:ext uri="{FF2B5EF4-FFF2-40B4-BE49-F238E27FC236}">
                <a16:creationId xmlns:a16="http://schemas.microsoft.com/office/drawing/2014/main" id="{02AA5DBD-AC60-C023-C815-382A1FE2FABE}"/>
              </a:ext>
            </a:extLst>
          </p:cNvPr>
          <p:cNvCxnSpPr>
            <a:stCxn id="35" idx="3"/>
            <a:endCxn id="33" idx="1"/>
          </p:cNvCxnSpPr>
          <p:nvPr/>
        </p:nvCxnSpPr>
        <p:spPr bwMode="auto">
          <a:xfrm>
            <a:off x="6242356" y="5416145"/>
            <a:ext cx="337680" cy="0"/>
          </a:xfrm>
          <a:prstGeom prst="straightConnector1">
            <a:avLst/>
          </a:prstGeom>
          <a:noFill/>
          <a:ln w="19050" cap="flat" cmpd="sng" algn="ctr">
            <a:solidFill>
              <a:srgbClr val="646464"/>
            </a:solidFill>
            <a:prstDash val="solid"/>
            <a:round/>
            <a:headEnd type="none" w="med" len="med"/>
            <a:tailEnd type="triangle"/>
          </a:ln>
          <a:effectLst/>
        </p:spPr>
      </p:cxnSp>
      <p:cxnSp>
        <p:nvCxnSpPr>
          <p:cNvPr id="44" name="Gerade Verbindung mit Pfeil 43">
            <a:extLst>
              <a:ext uri="{FF2B5EF4-FFF2-40B4-BE49-F238E27FC236}">
                <a16:creationId xmlns:a16="http://schemas.microsoft.com/office/drawing/2014/main" id="{9D606F24-FA75-EF9B-0658-F6857DEC9B1B}"/>
              </a:ext>
            </a:extLst>
          </p:cNvPr>
          <p:cNvCxnSpPr>
            <a:cxnSpLocks/>
            <a:stCxn id="10" idx="3"/>
            <a:endCxn id="25" idx="1"/>
          </p:cNvCxnSpPr>
          <p:nvPr/>
        </p:nvCxnSpPr>
        <p:spPr bwMode="auto">
          <a:xfrm>
            <a:off x="3006382" y="2519686"/>
            <a:ext cx="1191343" cy="0"/>
          </a:xfrm>
          <a:prstGeom prst="straightConnector1">
            <a:avLst/>
          </a:prstGeom>
          <a:noFill/>
          <a:ln w="19050" cap="flat" cmpd="sng" algn="ctr">
            <a:solidFill>
              <a:srgbClr val="646464"/>
            </a:solidFill>
            <a:prstDash val="solid"/>
            <a:round/>
            <a:headEnd type="none" w="med" len="med"/>
            <a:tailEnd type="triangle"/>
          </a:ln>
          <a:effectLst/>
        </p:spPr>
      </p:cxnSp>
      <p:cxnSp>
        <p:nvCxnSpPr>
          <p:cNvPr id="45" name="Gerade Verbindung mit Pfeil 44">
            <a:extLst>
              <a:ext uri="{FF2B5EF4-FFF2-40B4-BE49-F238E27FC236}">
                <a16:creationId xmlns:a16="http://schemas.microsoft.com/office/drawing/2014/main" id="{27578C40-082B-B58D-7BCB-03E3420CF3CC}"/>
              </a:ext>
            </a:extLst>
          </p:cNvPr>
          <p:cNvCxnSpPr>
            <a:cxnSpLocks/>
            <a:stCxn id="25" idx="3"/>
            <a:endCxn id="26" idx="1"/>
          </p:cNvCxnSpPr>
          <p:nvPr/>
        </p:nvCxnSpPr>
        <p:spPr bwMode="auto">
          <a:xfrm>
            <a:off x="5388693" y="2519686"/>
            <a:ext cx="1191343" cy="0"/>
          </a:xfrm>
          <a:prstGeom prst="straightConnector1">
            <a:avLst/>
          </a:prstGeom>
          <a:noFill/>
          <a:ln w="19050" cap="flat" cmpd="sng" algn="ctr">
            <a:solidFill>
              <a:srgbClr val="646464"/>
            </a:solidFill>
            <a:prstDash val="solid"/>
            <a:round/>
            <a:headEnd type="none" w="med" len="med"/>
            <a:tailEnd type="triangle"/>
          </a:ln>
          <a:effectLst/>
        </p:spPr>
      </p:cxnSp>
    </p:spTree>
    <p:extLst>
      <p:ext uri="{BB962C8B-B14F-4D97-AF65-F5344CB8AC3E}">
        <p14:creationId xmlns:p14="http://schemas.microsoft.com/office/powerpoint/2010/main" val="1796128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505C1-AD1B-7419-B43E-DF4EEEC6201B}"/>
              </a:ext>
            </a:extLst>
          </p:cNvPr>
          <p:cNvSpPr>
            <a:spLocks noGrp="1"/>
          </p:cNvSpPr>
          <p:nvPr>
            <p:ph type="title"/>
          </p:nvPr>
        </p:nvSpPr>
        <p:spPr/>
        <p:txBody>
          <a:bodyPr/>
          <a:lstStyle/>
          <a:p>
            <a:r>
              <a:rPr lang="de-DE"/>
              <a:t>Was </a:t>
            </a:r>
            <a:r>
              <a:rPr lang="de-DE" err="1"/>
              <a:t>Machine</a:t>
            </a:r>
            <a:r>
              <a:rPr lang="de-DE"/>
              <a:t> Learning von klassischer Modellierung unterscheidet </a:t>
            </a:r>
          </a:p>
        </p:txBody>
      </p:sp>
      <p:sp>
        <p:nvSpPr>
          <p:cNvPr id="4" name="Foliennummernplatzhalter 3">
            <a:extLst>
              <a:ext uri="{FF2B5EF4-FFF2-40B4-BE49-F238E27FC236}">
                <a16:creationId xmlns:a16="http://schemas.microsoft.com/office/drawing/2014/main" id="{D7EFACED-2A84-CD77-B7E8-06EFBCE07E8E}"/>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27</a:t>
            </a:fld>
            <a:endParaRPr lang="en-US" sz="810">
              <a:solidFill>
                <a:srgbClr val="889194"/>
              </a:solidFill>
              <a:latin typeface="Trebuchet MS"/>
            </a:endParaRPr>
          </a:p>
        </p:txBody>
      </p:sp>
      <p:sp>
        <p:nvSpPr>
          <p:cNvPr id="12" name="Rechteck: abgerundete Ecken 11">
            <a:extLst>
              <a:ext uri="{FF2B5EF4-FFF2-40B4-BE49-F238E27FC236}">
                <a16:creationId xmlns:a16="http://schemas.microsoft.com/office/drawing/2014/main" id="{56A41F9D-52D1-4B00-E500-E2C85D88E040}"/>
              </a:ext>
            </a:extLst>
          </p:cNvPr>
          <p:cNvSpPr/>
          <p:nvPr/>
        </p:nvSpPr>
        <p:spPr>
          <a:xfrm>
            <a:off x="8501198" y="1584688"/>
            <a:ext cx="2732806" cy="4241755"/>
          </a:xfrm>
          <a:prstGeom prst="roundRect">
            <a:avLst/>
          </a:prstGeom>
          <a:solidFill>
            <a:schemeClr val="accent4"/>
          </a:solidFill>
          <a:ln>
            <a:solidFill>
              <a:schemeClr val="tx2"/>
            </a:solid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en-US" sz="1300" dirty="0">
                <a:solidFill>
                  <a:srgbClr val="004080"/>
                </a:solidFill>
                <a:latin typeface="Arial" panose="020B0604020202020204" pitchFamily="34" charset="0"/>
                <a:cs typeface="Arial" panose="020B0604020202020204" pitchFamily="34" charset="0"/>
              </a:rPr>
              <a:t>ARTIFICAL INTELLIGENCE</a:t>
            </a:r>
          </a:p>
        </p:txBody>
      </p:sp>
      <p:sp>
        <p:nvSpPr>
          <p:cNvPr id="13" name="Rechteck: abgerundete Ecken 12">
            <a:extLst>
              <a:ext uri="{FF2B5EF4-FFF2-40B4-BE49-F238E27FC236}">
                <a16:creationId xmlns:a16="http://schemas.microsoft.com/office/drawing/2014/main" id="{AC73AF18-C574-EA46-C634-57CA816E5DE2}"/>
              </a:ext>
            </a:extLst>
          </p:cNvPr>
          <p:cNvSpPr/>
          <p:nvPr/>
        </p:nvSpPr>
        <p:spPr>
          <a:xfrm>
            <a:off x="8514057" y="2069161"/>
            <a:ext cx="2176502" cy="3703805"/>
          </a:xfrm>
          <a:prstGeom prst="roundRect">
            <a:avLst/>
          </a:prstGeom>
          <a:solidFill>
            <a:schemeClr val="accent2">
              <a:lumMod val="40000"/>
              <a:lumOff val="60000"/>
            </a:schemeClr>
          </a:solidFill>
          <a:ln>
            <a:no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de-DE" sz="990">
                <a:solidFill>
                  <a:srgbClr val="004080"/>
                </a:solidFill>
                <a:latin typeface="Arial" panose="020B0604020202020204" pitchFamily="34" charset="0"/>
                <a:cs typeface="Arial" panose="020B0604020202020204" pitchFamily="34" charset="0"/>
              </a:rPr>
              <a:t>MACHINE LEARNING</a:t>
            </a:r>
          </a:p>
        </p:txBody>
      </p:sp>
      <p:sp>
        <p:nvSpPr>
          <p:cNvPr id="10" name="Rechteck 9">
            <a:extLst>
              <a:ext uri="{FF2B5EF4-FFF2-40B4-BE49-F238E27FC236}">
                <a16:creationId xmlns:a16="http://schemas.microsoft.com/office/drawing/2014/main" id="{0719FF97-052F-416A-34B9-39190744A7D1}"/>
              </a:ext>
            </a:extLst>
          </p:cNvPr>
          <p:cNvSpPr/>
          <p:nvPr/>
        </p:nvSpPr>
        <p:spPr bwMode="auto">
          <a:xfrm>
            <a:off x="1815416" y="2309086"/>
            <a:ext cx="1190968" cy="4212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080" b="1">
                <a:solidFill>
                  <a:srgbClr val="000000"/>
                </a:solidFill>
              </a:rPr>
              <a:t>Daten</a:t>
            </a:r>
          </a:p>
        </p:txBody>
      </p:sp>
      <p:sp>
        <p:nvSpPr>
          <p:cNvPr id="25" name="Rechteck 24">
            <a:extLst>
              <a:ext uri="{FF2B5EF4-FFF2-40B4-BE49-F238E27FC236}">
                <a16:creationId xmlns:a16="http://schemas.microsoft.com/office/drawing/2014/main" id="{8F2D2449-A7BF-1BC4-B4FB-229D69974BCA}"/>
              </a:ext>
            </a:extLst>
          </p:cNvPr>
          <p:cNvSpPr/>
          <p:nvPr/>
        </p:nvSpPr>
        <p:spPr bwMode="auto">
          <a:xfrm>
            <a:off x="4197726" y="2309086"/>
            <a:ext cx="1190968" cy="4212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080" b="1">
                <a:solidFill>
                  <a:srgbClr val="000000"/>
                </a:solidFill>
                <a:latin typeface="Trebuchet MS"/>
              </a:rPr>
              <a:t>Handgefertigtes Modell</a:t>
            </a:r>
          </a:p>
        </p:txBody>
      </p:sp>
      <p:sp>
        <p:nvSpPr>
          <p:cNvPr id="26" name="Rechteck 25">
            <a:extLst>
              <a:ext uri="{FF2B5EF4-FFF2-40B4-BE49-F238E27FC236}">
                <a16:creationId xmlns:a16="http://schemas.microsoft.com/office/drawing/2014/main" id="{57ECE29C-7E99-25F4-88D1-81AE1C17C861}"/>
              </a:ext>
            </a:extLst>
          </p:cNvPr>
          <p:cNvSpPr/>
          <p:nvPr/>
        </p:nvSpPr>
        <p:spPr bwMode="auto">
          <a:xfrm>
            <a:off x="6580037" y="2309086"/>
            <a:ext cx="1190968" cy="4212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080" b="1">
                <a:solidFill>
                  <a:srgbClr val="000000"/>
                </a:solidFill>
              </a:rPr>
              <a:t>Ergebnis</a:t>
            </a:r>
          </a:p>
        </p:txBody>
      </p:sp>
      <p:sp>
        <p:nvSpPr>
          <p:cNvPr id="30" name="Rechteck 29">
            <a:extLst>
              <a:ext uri="{FF2B5EF4-FFF2-40B4-BE49-F238E27FC236}">
                <a16:creationId xmlns:a16="http://schemas.microsoft.com/office/drawing/2014/main" id="{4655EBFE-FB6B-F91B-C102-270150BE8F81}"/>
              </a:ext>
            </a:extLst>
          </p:cNvPr>
          <p:cNvSpPr/>
          <p:nvPr/>
        </p:nvSpPr>
        <p:spPr bwMode="auto">
          <a:xfrm>
            <a:off x="3522743" y="3972071"/>
            <a:ext cx="1190968" cy="4212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080" b="1">
                <a:solidFill>
                  <a:srgbClr val="000000"/>
                </a:solidFill>
              </a:rPr>
              <a:t>Algorithmus</a:t>
            </a:r>
          </a:p>
        </p:txBody>
      </p:sp>
      <p:sp>
        <p:nvSpPr>
          <p:cNvPr id="32" name="Rechteck 31">
            <a:extLst>
              <a:ext uri="{FF2B5EF4-FFF2-40B4-BE49-F238E27FC236}">
                <a16:creationId xmlns:a16="http://schemas.microsoft.com/office/drawing/2014/main" id="{6A472AC2-173C-4622-EB02-10A363E3CAA7}"/>
              </a:ext>
            </a:extLst>
          </p:cNvPr>
          <p:cNvSpPr/>
          <p:nvPr/>
        </p:nvSpPr>
        <p:spPr bwMode="auto">
          <a:xfrm>
            <a:off x="5051391" y="3972071"/>
            <a:ext cx="1190968" cy="4212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080" b="1">
                <a:solidFill>
                  <a:srgbClr val="000000"/>
                </a:solidFill>
              </a:rPr>
              <a:t>Trainiertes Modell</a:t>
            </a:r>
          </a:p>
        </p:txBody>
      </p:sp>
      <p:sp>
        <p:nvSpPr>
          <p:cNvPr id="35" name="Rechteck 34">
            <a:extLst>
              <a:ext uri="{FF2B5EF4-FFF2-40B4-BE49-F238E27FC236}">
                <a16:creationId xmlns:a16="http://schemas.microsoft.com/office/drawing/2014/main" id="{512F5D7D-1087-EE7A-F91C-444E8E9999B1}"/>
              </a:ext>
            </a:extLst>
          </p:cNvPr>
          <p:cNvSpPr/>
          <p:nvPr/>
        </p:nvSpPr>
        <p:spPr bwMode="auto">
          <a:xfrm>
            <a:off x="5051391" y="5205545"/>
            <a:ext cx="1190968" cy="4212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080" b="1">
                <a:solidFill>
                  <a:srgbClr val="000000"/>
                </a:solidFill>
              </a:rPr>
              <a:t>Trainiertes Modell</a:t>
            </a:r>
          </a:p>
        </p:txBody>
      </p:sp>
      <p:cxnSp>
        <p:nvCxnSpPr>
          <p:cNvPr id="40" name="Gerade Verbindung mit Pfeil 39">
            <a:extLst>
              <a:ext uri="{FF2B5EF4-FFF2-40B4-BE49-F238E27FC236}">
                <a16:creationId xmlns:a16="http://schemas.microsoft.com/office/drawing/2014/main" id="{52E024E3-6C64-E73E-CBDE-0272523DD9FE}"/>
              </a:ext>
            </a:extLst>
          </p:cNvPr>
          <p:cNvCxnSpPr>
            <a:stCxn id="30" idx="3"/>
            <a:endCxn id="32" idx="1"/>
          </p:cNvCxnSpPr>
          <p:nvPr/>
        </p:nvCxnSpPr>
        <p:spPr bwMode="auto">
          <a:xfrm>
            <a:off x="4713708" y="4182671"/>
            <a:ext cx="337680" cy="0"/>
          </a:xfrm>
          <a:prstGeom prst="straightConnector1">
            <a:avLst/>
          </a:prstGeom>
          <a:noFill/>
          <a:ln w="19050" cap="flat" cmpd="sng" algn="ctr">
            <a:solidFill>
              <a:srgbClr val="646464"/>
            </a:solidFill>
            <a:prstDash val="solid"/>
            <a:round/>
            <a:headEnd type="none" w="med" len="med"/>
            <a:tailEnd type="triangle"/>
          </a:ln>
          <a:effectLst/>
        </p:spPr>
      </p:cxnSp>
      <p:cxnSp>
        <p:nvCxnSpPr>
          <p:cNvPr id="41" name="Gerader Verbinder 40">
            <a:extLst>
              <a:ext uri="{FF2B5EF4-FFF2-40B4-BE49-F238E27FC236}">
                <a16:creationId xmlns:a16="http://schemas.microsoft.com/office/drawing/2014/main" id="{D03DFF53-673A-C5CD-204E-0E81FC1A3E07}"/>
              </a:ext>
            </a:extLst>
          </p:cNvPr>
          <p:cNvCxnSpPr>
            <a:stCxn id="32" idx="2"/>
            <a:endCxn id="35" idx="0"/>
          </p:cNvCxnSpPr>
          <p:nvPr/>
        </p:nvCxnSpPr>
        <p:spPr bwMode="auto">
          <a:xfrm>
            <a:off x="5646874" y="4393273"/>
            <a:ext cx="0" cy="812274"/>
          </a:xfrm>
          <a:prstGeom prst="line">
            <a:avLst/>
          </a:prstGeom>
          <a:noFill/>
          <a:ln w="19050" cap="flat" cmpd="sng" algn="ctr">
            <a:solidFill>
              <a:srgbClr val="646464"/>
            </a:solidFill>
            <a:prstDash val="dash"/>
            <a:round/>
            <a:headEnd type="none" w="med" len="med"/>
            <a:tailEnd type="none" w="med" len="med"/>
          </a:ln>
          <a:effectLst/>
        </p:spPr>
      </p:cxnSp>
      <p:cxnSp>
        <p:nvCxnSpPr>
          <p:cNvPr id="44" name="Gerade Verbindung mit Pfeil 43">
            <a:extLst>
              <a:ext uri="{FF2B5EF4-FFF2-40B4-BE49-F238E27FC236}">
                <a16:creationId xmlns:a16="http://schemas.microsoft.com/office/drawing/2014/main" id="{9D606F24-FA75-EF9B-0658-F6857DEC9B1B}"/>
              </a:ext>
            </a:extLst>
          </p:cNvPr>
          <p:cNvCxnSpPr>
            <a:cxnSpLocks/>
            <a:stCxn id="10" idx="3"/>
            <a:endCxn id="25" idx="1"/>
          </p:cNvCxnSpPr>
          <p:nvPr/>
        </p:nvCxnSpPr>
        <p:spPr bwMode="auto">
          <a:xfrm>
            <a:off x="3006382" y="2519686"/>
            <a:ext cx="1191343" cy="0"/>
          </a:xfrm>
          <a:prstGeom prst="straightConnector1">
            <a:avLst/>
          </a:prstGeom>
          <a:noFill/>
          <a:ln w="19050" cap="flat" cmpd="sng" algn="ctr">
            <a:solidFill>
              <a:srgbClr val="646464"/>
            </a:solidFill>
            <a:prstDash val="solid"/>
            <a:round/>
            <a:headEnd type="none" w="med" len="med"/>
            <a:tailEnd type="triangle"/>
          </a:ln>
          <a:effectLst/>
        </p:spPr>
      </p:cxnSp>
      <p:cxnSp>
        <p:nvCxnSpPr>
          <p:cNvPr id="45" name="Gerade Verbindung mit Pfeil 44">
            <a:extLst>
              <a:ext uri="{FF2B5EF4-FFF2-40B4-BE49-F238E27FC236}">
                <a16:creationId xmlns:a16="http://schemas.microsoft.com/office/drawing/2014/main" id="{27578C40-082B-B58D-7BCB-03E3420CF3CC}"/>
              </a:ext>
            </a:extLst>
          </p:cNvPr>
          <p:cNvCxnSpPr>
            <a:cxnSpLocks/>
            <a:stCxn id="25" idx="3"/>
            <a:endCxn id="26" idx="1"/>
          </p:cNvCxnSpPr>
          <p:nvPr/>
        </p:nvCxnSpPr>
        <p:spPr bwMode="auto">
          <a:xfrm>
            <a:off x="5388693" y="2519686"/>
            <a:ext cx="1191343" cy="0"/>
          </a:xfrm>
          <a:prstGeom prst="straightConnector1">
            <a:avLst/>
          </a:prstGeom>
          <a:noFill/>
          <a:ln w="19050" cap="flat" cmpd="sng" algn="ctr">
            <a:solidFill>
              <a:srgbClr val="646464"/>
            </a:solidFill>
            <a:prstDash val="solid"/>
            <a:round/>
            <a:headEnd type="none" w="med" len="med"/>
            <a:tailEnd type="triangle"/>
          </a:ln>
          <a:effectLst/>
        </p:spPr>
      </p:cxnSp>
      <p:grpSp>
        <p:nvGrpSpPr>
          <p:cNvPr id="5" name="Gruppieren 4">
            <a:extLst>
              <a:ext uri="{FF2B5EF4-FFF2-40B4-BE49-F238E27FC236}">
                <a16:creationId xmlns:a16="http://schemas.microsoft.com/office/drawing/2014/main" id="{B08F784B-DF2E-FF5F-4738-08540B5B0CC8}"/>
              </a:ext>
            </a:extLst>
          </p:cNvPr>
          <p:cNvGrpSpPr/>
          <p:nvPr/>
        </p:nvGrpSpPr>
        <p:grpSpPr>
          <a:xfrm>
            <a:off x="1901911" y="3550573"/>
            <a:ext cx="1077796" cy="1273433"/>
            <a:chOff x="2181250" y="1644031"/>
            <a:chExt cx="1197551" cy="1414924"/>
          </a:xfrm>
        </p:grpSpPr>
        <p:pic>
          <p:nvPicPr>
            <p:cNvPr id="9" name="Grafik 8" descr="Ein Bild, das Apfel, Obst, sitzend, drinnen enthält.&#10;&#10;Automatisch generierte Beschreibung">
              <a:extLst>
                <a:ext uri="{FF2B5EF4-FFF2-40B4-BE49-F238E27FC236}">
                  <a16:creationId xmlns:a16="http://schemas.microsoft.com/office/drawing/2014/main" id="{8AEC57E4-D4DE-7B64-1934-8EAFF342BF8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188448" y="1644031"/>
              <a:ext cx="503694" cy="476209"/>
            </a:xfrm>
            <a:prstGeom prst="rect">
              <a:avLst/>
            </a:prstGeom>
          </p:spPr>
        </p:pic>
        <p:pic>
          <p:nvPicPr>
            <p:cNvPr id="14" name="Grafik 13" descr="Ein Bild, das Obst, Banane enthält.&#10;&#10;Automatisch generierte Beschreibung">
              <a:extLst>
                <a:ext uri="{FF2B5EF4-FFF2-40B4-BE49-F238E27FC236}">
                  <a16:creationId xmlns:a16="http://schemas.microsoft.com/office/drawing/2014/main" id="{87FE1909-373F-BA2A-0981-D2D46A7EF09A}"/>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2734036" y="2402204"/>
              <a:ext cx="603231" cy="350018"/>
            </a:xfrm>
            <a:prstGeom prst="rect">
              <a:avLst/>
            </a:prstGeom>
          </p:spPr>
        </p:pic>
        <p:pic>
          <p:nvPicPr>
            <p:cNvPr id="15" name="Grafik 14" descr="Ein Bild, das Apfel, Obst, sitzend, drinnen enthält.&#10;&#10;Automatisch generierte Beschreibung">
              <a:extLst>
                <a:ext uri="{FF2B5EF4-FFF2-40B4-BE49-F238E27FC236}">
                  <a16:creationId xmlns:a16="http://schemas.microsoft.com/office/drawing/2014/main" id="{60831971-BCB4-1BAD-BFAF-20E2FFE950A8}"/>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783804" y="1644031"/>
              <a:ext cx="503694" cy="476209"/>
            </a:xfrm>
            <a:prstGeom prst="rect">
              <a:avLst/>
            </a:prstGeom>
          </p:spPr>
        </p:pic>
        <p:pic>
          <p:nvPicPr>
            <p:cNvPr id="16" name="Grafik 15" descr="Ein Bild, das Apfel, Obst, sitzend, drinnen enthält.&#10;&#10;Automatisch generierte Beschreibung">
              <a:extLst>
                <a:ext uri="{FF2B5EF4-FFF2-40B4-BE49-F238E27FC236}">
                  <a16:creationId xmlns:a16="http://schemas.microsoft.com/office/drawing/2014/main" id="{A54D4221-924A-5F1C-A4D1-38D804B2A2E4}"/>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188448" y="2339109"/>
              <a:ext cx="503694" cy="476209"/>
            </a:xfrm>
            <a:prstGeom prst="rect">
              <a:avLst/>
            </a:prstGeom>
          </p:spPr>
        </p:pic>
        <p:sp>
          <p:nvSpPr>
            <p:cNvPr id="17" name="Textfeld 16">
              <a:extLst>
                <a:ext uri="{FF2B5EF4-FFF2-40B4-BE49-F238E27FC236}">
                  <a16:creationId xmlns:a16="http://schemas.microsoft.com/office/drawing/2014/main" id="{8C1D6156-A2A5-8D67-435A-0E01A6C699AE}"/>
                </a:ext>
              </a:extLst>
            </p:cNvPr>
            <p:cNvSpPr txBox="1"/>
            <p:nvPr/>
          </p:nvSpPr>
          <p:spPr>
            <a:xfrm>
              <a:off x="2181250" y="2075840"/>
              <a:ext cx="536471" cy="271869"/>
            </a:xfrm>
            <a:prstGeom prst="rect">
              <a:avLst/>
            </a:prstGeom>
            <a:noFill/>
          </p:spPr>
          <p:txBody>
            <a:bodyPr wrap="none" rtlCol="0">
              <a:spAutoFit/>
            </a:bodyPr>
            <a:lstStyle/>
            <a:p>
              <a:pPr defTabSz="822960">
                <a:defRPr/>
              </a:pPr>
              <a:r>
                <a:rPr lang="de-DE" sz="990">
                  <a:solidFill>
                    <a:srgbClr val="000000"/>
                  </a:solidFill>
                  <a:latin typeface="Trebuchet MS"/>
                </a:rPr>
                <a:t>Apfel</a:t>
              </a:r>
            </a:p>
          </p:txBody>
        </p:sp>
        <p:sp>
          <p:nvSpPr>
            <p:cNvPr id="18" name="Textfeld 17">
              <a:extLst>
                <a:ext uri="{FF2B5EF4-FFF2-40B4-BE49-F238E27FC236}">
                  <a16:creationId xmlns:a16="http://schemas.microsoft.com/office/drawing/2014/main" id="{81A892EE-9753-7BDC-C27E-147FAE740410}"/>
                </a:ext>
              </a:extLst>
            </p:cNvPr>
            <p:cNvSpPr txBox="1"/>
            <p:nvPr/>
          </p:nvSpPr>
          <p:spPr>
            <a:xfrm>
              <a:off x="2776607" y="2075840"/>
              <a:ext cx="536471" cy="271869"/>
            </a:xfrm>
            <a:prstGeom prst="rect">
              <a:avLst/>
            </a:prstGeom>
            <a:noFill/>
          </p:spPr>
          <p:txBody>
            <a:bodyPr wrap="none" rtlCol="0">
              <a:spAutoFit/>
            </a:bodyPr>
            <a:lstStyle/>
            <a:p>
              <a:pPr defTabSz="822960">
                <a:defRPr/>
              </a:pPr>
              <a:r>
                <a:rPr lang="de-DE" sz="990">
                  <a:solidFill>
                    <a:srgbClr val="000000"/>
                  </a:solidFill>
                  <a:latin typeface="Trebuchet MS"/>
                </a:rPr>
                <a:t>Apfel</a:t>
              </a:r>
            </a:p>
          </p:txBody>
        </p:sp>
        <p:sp>
          <p:nvSpPr>
            <p:cNvPr id="19" name="Textfeld 18">
              <a:extLst>
                <a:ext uri="{FF2B5EF4-FFF2-40B4-BE49-F238E27FC236}">
                  <a16:creationId xmlns:a16="http://schemas.microsoft.com/office/drawing/2014/main" id="{D9B27454-7321-170C-F1B1-84BAA20B0F97}"/>
                </a:ext>
              </a:extLst>
            </p:cNvPr>
            <p:cNvSpPr txBox="1"/>
            <p:nvPr/>
          </p:nvSpPr>
          <p:spPr>
            <a:xfrm>
              <a:off x="2181250" y="2787086"/>
              <a:ext cx="536471" cy="271869"/>
            </a:xfrm>
            <a:prstGeom prst="rect">
              <a:avLst/>
            </a:prstGeom>
            <a:noFill/>
          </p:spPr>
          <p:txBody>
            <a:bodyPr wrap="none" rtlCol="0">
              <a:spAutoFit/>
            </a:bodyPr>
            <a:lstStyle/>
            <a:p>
              <a:pPr defTabSz="822960">
                <a:defRPr/>
              </a:pPr>
              <a:r>
                <a:rPr lang="de-DE" sz="990">
                  <a:solidFill>
                    <a:srgbClr val="000000"/>
                  </a:solidFill>
                  <a:latin typeface="Trebuchet MS"/>
                </a:rPr>
                <a:t>Apfel</a:t>
              </a:r>
            </a:p>
          </p:txBody>
        </p:sp>
        <p:sp>
          <p:nvSpPr>
            <p:cNvPr id="20" name="Textfeld 19">
              <a:extLst>
                <a:ext uri="{FF2B5EF4-FFF2-40B4-BE49-F238E27FC236}">
                  <a16:creationId xmlns:a16="http://schemas.microsoft.com/office/drawing/2014/main" id="{9D154468-F793-9892-7234-DA461F424ACA}"/>
                </a:ext>
              </a:extLst>
            </p:cNvPr>
            <p:cNvSpPr txBox="1"/>
            <p:nvPr/>
          </p:nvSpPr>
          <p:spPr>
            <a:xfrm>
              <a:off x="2714089" y="2787086"/>
              <a:ext cx="664712" cy="271869"/>
            </a:xfrm>
            <a:prstGeom prst="rect">
              <a:avLst/>
            </a:prstGeom>
            <a:noFill/>
          </p:spPr>
          <p:txBody>
            <a:bodyPr wrap="none" rtlCol="0">
              <a:spAutoFit/>
            </a:bodyPr>
            <a:lstStyle/>
            <a:p>
              <a:pPr defTabSz="822960">
                <a:defRPr/>
              </a:pPr>
              <a:r>
                <a:rPr lang="de-DE" sz="990">
                  <a:solidFill>
                    <a:srgbClr val="000000"/>
                  </a:solidFill>
                  <a:latin typeface="Trebuchet MS"/>
                </a:rPr>
                <a:t>Banane</a:t>
              </a:r>
            </a:p>
          </p:txBody>
        </p:sp>
      </p:grpSp>
      <p:cxnSp>
        <p:nvCxnSpPr>
          <p:cNvPr id="21" name="Gerade Verbindung mit Pfeil 20">
            <a:extLst>
              <a:ext uri="{FF2B5EF4-FFF2-40B4-BE49-F238E27FC236}">
                <a16:creationId xmlns:a16="http://schemas.microsoft.com/office/drawing/2014/main" id="{DD52B391-A44F-21A0-8C68-921F0912CAF9}"/>
              </a:ext>
            </a:extLst>
          </p:cNvPr>
          <p:cNvCxnSpPr>
            <a:cxnSpLocks/>
          </p:cNvCxnSpPr>
          <p:nvPr/>
        </p:nvCxnSpPr>
        <p:spPr bwMode="auto">
          <a:xfrm>
            <a:off x="2897533" y="4174649"/>
            <a:ext cx="583200" cy="0"/>
          </a:xfrm>
          <a:prstGeom prst="straightConnector1">
            <a:avLst/>
          </a:prstGeom>
          <a:noFill/>
          <a:ln w="19050" cap="flat" cmpd="sng" algn="ctr">
            <a:solidFill>
              <a:srgbClr val="646464"/>
            </a:solidFill>
            <a:prstDash val="solid"/>
            <a:round/>
            <a:headEnd type="none" w="med" len="med"/>
            <a:tailEnd type="triangle"/>
          </a:ln>
          <a:effectLst/>
        </p:spPr>
      </p:cxnSp>
      <p:pic>
        <p:nvPicPr>
          <p:cNvPr id="22" name="Grafik 21" descr="Ein Bild, das Apfel, Obst, sitzend, drinnen enthält.&#10;&#10;Automatisch generierte Beschreibung">
            <a:extLst>
              <a:ext uri="{FF2B5EF4-FFF2-40B4-BE49-F238E27FC236}">
                <a16:creationId xmlns:a16="http://schemas.microsoft.com/office/drawing/2014/main" id="{CA7BC3C0-D799-1A97-905D-9FB44C56FA34}"/>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212640" y="5168520"/>
            <a:ext cx="453325" cy="428588"/>
          </a:xfrm>
          <a:prstGeom prst="rect">
            <a:avLst/>
          </a:prstGeom>
        </p:spPr>
      </p:pic>
      <p:sp>
        <p:nvSpPr>
          <p:cNvPr id="23" name="Textfeld 22">
            <a:extLst>
              <a:ext uri="{FF2B5EF4-FFF2-40B4-BE49-F238E27FC236}">
                <a16:creationId xmlns:a16="http://schemas.microsoft.com/office/drawing/2014/main" id="{44895CEE-52B7-5B7E-DCA1-27CC73872D0E}"/>
              </a:ext>
            </a:extLst>
          </p:cNvPr>
          <p:cNvSpPr txBox="1"/>
          <p:nvPr/>
        </p:nvSpPr>
        <p:spPr>
          <a:xfrm>
            <a:off x="6641322" y="5599681"/>
            <a:ext cx="529312" cy="244682"/>
          </a:xfrm>
          <a:prstGeom prst="rect">
            <a:avLst/>
          </a:prstGeom>
          <a:noFill/>
        </p:spPr>
        <p:txBody>
          <a:bodyPr wrap="none" rtlCol="0">
            <a:spAutoFit/>
          </a:bodyPr>
          <a:lstStyle/>
          <a:p>
            <a:pPr algn="ctr" defTabSz="822960">
              <a:defRPr/>
            </a:pPr>
            <a:r>
              <a:rPr lang="de-DE" sz="990">
                <a:solidFill>
                  <a:srgbClr val="000000"/>
                </a:solidFill>
                <a:latin typeface="Trebuchet MS"/>
              </a:rPr>
              <a:t>Apfel!</a:t>
            </a:r>
          </a:p>
        </p:txBody>
      </p:sp>
      <p:pic>
        <p:nvPicPr>
          <p:cNvPr id="24" name="Grafik 23" descr="Ein Bild, das Apfel, Obst, sitzend, drinnen enthält.&#10;&#10;Automatisch generierte Beschreibung">
            <a:extLst>
              <a:ext uri="{FF2B5EF4-FFF2-40B4-BE49-F238E27FC236}">
                <a16:creationId xmlns:a16="http://schemas.microsoft.com/office/drawing/2014/main" id="{49D90285-8948-4FEA-65FA-8F2CE35FC041}"/>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91054" y="5144983"/>
            <a:ext cx="453325" cy="428588"/>
          </a:xfrm>
          <a:prstGeom prst="rect">
            <a:avLst/>
          </a:prstGeom>
        </p:spPr>
      </p:pic>
      <p:cxnSp>
        <p:nvCxnSpPr>
          <p:cNvPr id="47" name="Gerade Verbindung mit Pfeil 46">
            <a:extLst>
              <a:ext uri="{FF2B5EF4-FFF2-40B4-BE49-F238E27FC236}">
                <a16:creationId xmlns:a16="http://schemas.microsoft.com/office/drawing/2014/main" id="{C3CC3DF2-4792-2A17-4E58-43BC1AD00C5E}"/>
              </a:ext>
            </a:extLst>
          </p:cNvPr>
          <p:cNvCxnSpPr>
            <a:cxnSpLocks/>
          </p:cNvCxnSpPr>
          <p:nvPr/>
        </p:nvCxnSpPr>
        <p:spPr bwMode="auto">
          <a:xfrm>
            <a:off x="4620546" y="5416145"/>
            <a:ext cx="421200" cy="0"/>
          </a:xfrm>
          <a:prstGeom prst="straightConnector1">
            <a:avLst/>
          </a:prstGeom>
          <a:noFill/>
          <a:ln w="19050" cap="flat" cmpd="sng" algn="ctr">
            <a:solidFill>
              <a:srgbClr val="646464"/>
            </a:solidFill>
            <a:prstDash val="solid"/>
            <a:round/>
            <a:headEnd type="none" w="med" len="med"/>
            <a:tailEnd type="triangle"/>
          </a:ln>
          <a:effectLst/>
        </p:spPr>
      </p:cxnSp>
      <p:cxnSp>
        <p:nvCxnSpPr>
          <p:cNvPr id="48" name="Gerade Verbindung mit Pfeil 47">
            <a:extLst>
              <a:ext uri="{FF2B5EF4-FFF2-40B4-BE49-F238E27FC236}">
                <a16:creationId xmlns:a16="http://schemas.microsoft.com/office/drawing/2014/main" id="{BAC0B81B-5799-227B-9822-E3FFF8344834}"/>
              </a:ext>
            </a:extLst>
          </p:cNvPr>
          <p:cNvCxnSpPr>
            <a:cxnSpLocks/>
          </p:cNvCxnSpPr>
          <p:nvPr/>
        </p:nvCxnSpPr>
        <p:spPr bwMode="auto">
          <a:xfrm>
            <a:off x="6242356" y="5416145"/>
            <a:ext cx="453600" cy="0"/>
          </a:xfrm>
          <a:prstGeom prst="straightConnector1">
            <a:avLst/>
          </a:prstGeom>
          <a:noFill/>
          <a:ln w="19050" cap="flat" cmpd="sng" algn="ctr">
            <a:solidFill>
              <a:srgbClr val="646464"/>
            </a:solidFill>
            <a:prstDash val="solid"/>
            <a:round/>
            <a:headEnd type="none" w="med" len="med"/>
            <a:tailEnd type="triangle"/>
          </a:ln>
          <a:effectLst/>
        </p:spPr>
      </p:cxnSp>
      <p:sp>
        <p:nvSpPr>
          <p:cNvPr id="52" name="Rechteck 51">
            <a:extLst>
              <a:ext uri="{FF2B5EF4-FFF2-40B4-BE49-F238E27FC236}">
                <a16:creationId xmlns:a16="http://schemas.microsoft.com/office/drawing/2014/main" id="{E62C6391-0C80-984D-109B-9FD0AEC35BC1}"/>
              </a:ext>
            </a:extLst>
          </p:cNvPr>
          <p:cNvSpPr/>
          <p:nvPr/>
        </p:nvSpPr>
        <p:spPr bwMode="auto">
          <a:xfrm rot="16200000">
            <a:off x="834676" y="2229810"/>
            <a:ext cx="1072898" cy="505836"/>
          </a:xfrm>
          <a:prstGeom prst="rect">
            <a:avLst/>
          </a:prstGeom>
          <a:solidFill>
            <a:schemeClr val="tx2"/>
          </a:solidFill>
          <a:ln w="12700" cap="flat" cmpd="sng" algn="ctr">
            <a:solidFill>
              <a:schemeClr val="tx2"/>
            </a:solid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260">
                <a:solidFill>
                  <a:srgbClr val="FFFFFF"/>
                </a:solidFill>
              </a:rPr>
              <a:t>Prognose</a:t>
            </a:r>
            <a:endParaRPr lang="de-DE" sz="1080">
              <a:solidFill>
                <a:srgbClr val="FFFFFF"/>
              </a:solidFill>
            </a:endParaRPr>
          </a:p>
        </p:txBody>
      </p:sp>
      <p:sp>
        <p:nvSpPr>
          <p:cNvPr id="53" name="Rechteck 52">
            <a:extLst>
              <a:ext uri="{FF2B5EF4-FFF2-40B4-BE49-F238E27FC236}">
                <a16:creationId xmlns:a16="http://schemas.microsoft.com/office/drawing/2014/main" id="{14A53B71-E62E-266C-6DFE-D10601527980}"/>
              </a:ext>
            </a:extLst>
          </p:cNvPr>
          <p:cNvSpPr/>
          <p:nvPr/>
        </p:nvSpPr>
        <p:spPr bwMode="auto">
          <a:xfrm>
            <a:off x="1033813" y="1612828"/>
            <a:ext cx="2270531" cy="304699"/>
          </a:xfrm>
          <a:prstGeom prst="rect">
            <a:avLst/>
          </a:prstGeom>
          <a:solidFill>
            <a:schemeClr val="bg1"/>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spAutoFit/>
          </a:bodyPr>
          <a:lstStyle/>
          <a:p>
            <a:pPr defTabSz="901542">
              <a:defRPr/>
            </a:pPr>
            <a:r>
              <a:rPr lang="de-DE" sz="1440" b="1">
                <a:solidFill>
                  <a:srgbClr val="004080"/>
                </a:solidFill>
              </a:rPr>
              <a:t>Klassische Modellierung</a:t>
            </a:r>
          </a:p>
        </p:txBody>
      </p:sp>
      <p:sp>
        <p:nvSpPr>
          <p:cNvPr id="54" name="Rechteck 53">
            <a:extLst>
              <a:ext uri="{FF2B5EF4-FFF2-40B4-BE49-F238E27FC236}">
                <a16:creationId xmlns:a16="http://schemas.microsoft.com/office/drawing/2014/main" id="{90565C32-B23A-F628-C8FC-F9D46D031663}"/>
              </a:ext>
            </a:extLst>
          </p:cNvPr>
          <p:cNvSpPr/>
          <p:nvPr/>
        </p:nvSpPr>
        <p:spPr bwMode="auto">
          <a:xfrm>
            <a:off x="1033811" y="3182229"/>
            <a:ext cx="4461502" cy="304699"/>
          </a:xfrm>
          <a:prstGeom prst="rect">
            <a:avLst/>
          </a:prstGeom>
          <a:solidFill>
            <a:schemeClr val="bg1"/>
          </a:solidFill>
          <a:ln w="1270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spAutoFit/>
          </a:bodyPr>
          <a:lstStyle/>
          <a:p>
            <a:pPr defTabSz="901542">
              <a:defRPr/>
            </a:pPr>
            <a:r>
              <a:rPr lang="de-DE" sz="1440" b="1" err="1">
                <a:solidFill>
                  <a:srgbClr val="004080"/>
                </a:solidFill>
              </a:rPr>
              <a:t>Machine</a:t>
            </a:r>
            <a:r>
              <a:rPr lang="de-DE" sz="1440" b="1">
                <a:solidFill>
                  <a:srgbClr val="004080"/>
                </a:solidFill>
              </a:rPr>
              <a:t> Learning (</a:t>
            </a:r>
            <a:r>
              <a:rPr lang="de-DE" sz="1440" b="1" err="1">
                <a:solidFill>
                  <a:srgbClr val="004080"/>
                </a:solidFill>
              </a:rPr>
              <a:t>Supervised</a:t>
            </a:r>
            <a:r>
              <a:rPr lang="de-DE" sz="1440" b="1">
                <a:solidFill>
                  <a:srgbClr val="004080"/>
                </a:solidFill>
              </a:rPr>
              <a:t> Learning Ansatz)</a:t>
            </a:r>
          </a:p>
        </p:txBody>
      </p:sp>
      <p:sp>
        <p:nvSpPr>
          <p:cNvPr id="55" name="Rechteck 54">
            <a:extLst>
              <a:ext uri="{FF2B5EF4-FFF2-40B4-BE49-F238E27FC236}">
                <a16:creationId xmlns:a16="http://schemas.microsoft.com/office/drawing/2014/main" id="{83B93C41-5770-AFA5-C8EA-17F0E64EBD6B}"/>
              </a:ext>
            </a:extLst>
          </p:cNvPr>
          <p:cNvSpPr/>
          <p:nvPr/>
        </p:nvSpPr>
        <p:spPr bwMode="auto">
          <a:xfrm rot="16200000">
            <a:off x="759497" y="3895762"/>
            <a:ext cx="1223256" cy="505835"/>
          </a:xfrm>
          <a:prstGeom prst="rect">
            <a:avLst/>
          </a:prstGeom>
          <a:solidFill>
            <a:schemeClr val="tx2"/>
          </a:solidFill>
          <a:ln w="12700" cap="flat" cmpd="sng" algn="ctr">
            <a:solidFill>
              <a:schemeClr val="tx2"/>
            </a:solid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260">
                <a:solidFill>
                  <a:srgbClr val="FFFFFF"/>
                </a:solidFill>
              </a:rPr>
              <a:t>Lernprozess</a:t>
            </a:r>
            <a:endParaRPr lang="de-DE" sz="1080">
              <a:solidFill>
                <a:srgbClr val="FFFFFF"/>
              </a:solidFill>
            </a:endParaRPr>
          </a:p>
        </p:txBody>
      </p:sp>
      <p:sp>
        <p:nvSpPr>
          <p:cNvPr id="56" name="Rechteck 55">
            <a:extLst>
              <a:ext uri="{FF2B5EF4-FFF2-40B4-BE49-F238E27FC236}">
                <a16:creationId xmlns:a16="http://schemas.microsoft.com/office/drawing/2014/main" id="{E4BEDCB9-60CB-DD2A-51BE-C928B3DE0B9E}"/>
              </a:ext>
            </a:extLst>
          </p:cNvPr>
          <p:cNvSpPr/>
          <p:nvPr/>
        </p:nvSpPr>
        <p:spPr bwMode="auto">
          <a:xfrm rot="16200000">
            <a:off x="759497" y="5206004"/>
            <a:ext cx="1223256" cy="505836"/>
          </a:xfrm>
          <a:prstGeom prst="rect">
            <a:avLst/>
          </a:prstGeom>
          <a:solidFill>
            <a:schemeClr val="tx2"/>
          </a:solidFill>
          <a:ln w="12700" cap="flat" cmpd="sng" algn="ctr">
            <a:solidFill>
              <a:schemeClr val="tx2"/>
            </a:solid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algn="ctr" defTabSz="901542">
              <a:defRPr/>
            </a:pPr>
            <a:r>
              <a:rPr lang="de-DE" sz="1260">
                <a:solidFill>
                  <a:srgbClr val="FFFFFF"/>
                </a:solidFill>
              </a:rPr>
              <a:t>Prognose</a:t>
            </a:r>
            <a:endParaRPr lang="de-DE" sz="1080">
              <a:solidFill>
                <a:srgbClr val="FFFFFF"/>
              </a:solidFill>
            </a:endParaRPr>
          </a:p>
        </p:txBody>
      </p:sp>
    </p:spTree>
    <p:extLst>
      <p:ext uri="{BB962C8B-B14F-4D97-AF65-F5344CB8AC3E}">
        <p14:creationId xmlns:p14="http://schemas.microsoft.com/office/powerpoint/2010/main" val="7566789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505C1-AD1B-7419-B43E-DF4EEEC6201B}"/>
              </a:ext>
            </a:extLst>
          </p:cNvPr>
          <p:cNvSpPr>
            <a:spLocks noGrp="1"/>
          </p:cNvSpPr>
          <p:nvPr>
            <p:ph type="title"/>
          </p:nvPr>
        </p:nvSpPr>
        <p:spPr/>
        <p:txBody>
          <a:bodyPr/>
          <a:lstStyle/>
          <a:p>
            <a:r>
              <a:rPr lang="de-DE"/>
              <a:t>Generative AI</a:t>
            </a:r>
          </a:p>
        </p:txBody>
      </p:sp>
      <p:sp>
        <p:nvSpPr>
          <p:cNvPr id="4" name="Foliennummernplatzhalter 3">
            <a:extLst>
              <a:ext uri="{FF2B5EF4-FFF2-40B4-BE49-F238E27FC236}">
                <a16:creationId xmlns:a16="http://schemas.microsoft.com/office/drawing/2014/main" id="{D7EFACED-2A84-CD77-B7E8-06EFBCE07E8E}"/>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28</a:t>
            </a:fld>
            <a:endParaRPr lang="en-US" sz="810">
              <a:solidFill>
                <a:srgbClr val="889194"/>
              </a:solidFill>
              <a:latin typeface="Trebuchet MS"/>
            </a:endParaRPr>
          </a:p>
        </p:txBody>
      </p:sp>
      <p:sp>
        <p:nvSpPr>
          <p:cNvPr id="7" name="Inhaltsplatzhalter 6">
            <a:extLst>
              <a:ext uri="{FF2B5EF4-FFF2-40B4-BE49-F238E27FC236}">
                <a16:creationId xmlns:a16="http://schemas.microsoft.com/office/drawing/2014/main" id="{C67139D3-D63A-6849-703F-3D6178257B12}"/>
              </a:ext>
            </a:extLst>
          </p:cNvPr>
          <p:cNvSpPr>
            <a:spLocks noGrp="1"/>
          </p:cNvSpPr>
          <p:nvPr>
            <p:ph sz="quarter" idx="17"/>
          </p:nvPr>
        </p:nvSpPr>
        <p:spPr/>
        <p:txBody>
          <a:bodyPr/>
          <a:lstStyle/>
          <a:p>
            <a:endParaRPr lang="de-DE"/>
          </a:p>
        </p:txBody>
      </p:sp>
      <p:grpSp>
        <p:nvGrpSpPr>
          <p:cNvPr id="19" name="Gruppieren 18">
            <a:extLst>
              <a:ext uri="{FF2B5EF4-FFF2-40B4-BE49-F238E27FC236}">
                <a16:creationId xmlns:a16="http://schemas.microsoft.com/office/drawing/2014/main" id="{C359C9DC-ED2B-E76E-D830-13C3BC8BD03D}"/>
              </a:ext>
            </a:extLst>
          </p:cNvPr>
          <p:cNvGrpSpPr/>
          <p:nvPr/>
        </p:nvGrpSpPr>
        <p:grpSpPr>
          <a:xfrm>
            <a:off x="8501198" y="1584688"/>
            <a:ext cx="2732806" cy="4241755"/>
            <a:chOff x="8768442" y="1379764"/>
            <a:chExt cx="3036451" cy="4713061"/>
          </a:xfrm>
        </p:grpSpPr>
        <p:sp>
          <p:nvSpPr>
            <p:cNvPr id="20" name="Rechteck: abgerundete Ecken 19">
              <a:extLst>
                <a:ext uri="{FF2B5EF4-FFF2-40B4-BE49-F238E27FC236}">
                  <a16:creationId xmlns:a16="http://schemas.microsoft.com/office/drawing/2014/main" id="{58B6C3A1-BC4E-9A6B-4162-3EDC816BEDE5}"/>
                </a:ext>
              </a:extLst>
            </p:cNvPr>
            <p:cNvSpPr/>
            <p:nvPr/>
          </p:nvSpPr>
          <p:spPr>
            <a:xfrm>
              <a:off x="8768442" y="1379764"/>
              <a:ext cx="3036451" cy="4713061"/>
            </a:xfrm>
            <a:prstGeom prst="roundRect">
              <a:avLst/>
            </a:prstGeom>
            <a:solidFill>
              <a:schemeClr val="accent4"/>
            </a:solidFill>
            <a:ln>
              <a:solidFill>
                <a:schemeClr val="tx2"/>
              </a:solid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en-US" sz="1300" dirty="0">
                  <a:solidFill>
                    <a:srgbClr val="004080"/>
                  </a:solidFill>
                  <a:latin typeface="Arial" panose="020B0604020202020204" pitchFamily="34" charset="0"/>
                  <a:cs typeface="Arial" panose="020B0604020202020204" pitchFamily="34" charset="0"/>
                </a:rPr>
                <a:t>ARTIFICAL INTELLIGENCE</a:t>
              </a:r>
            </a:p>
          </p:txBody>
        </p:sp>
        <p:sp>
          <p:nvSpPr>
            <p:cNvPr id="21" name="Rechteck: abgerundete Ecken 20">
              <a:extLst>
                <a:ext uri="{FF2B5EF4-FFF2-40B4-BE49-F238E27FC236}">
                  <a16:creationId xmlns:a16="http://schemas.microsoft.com/office/drawing/2014/main" id="{A5140DDC-7DC4-364B-E005-8D181B93F8AB}"/>
                </a:ext>
              </a:extLst>
            </p:cNvPr>
            <p:cNvSpPr/>
            <p:nvPr/>
          </p:nvSpPr>
          <p:spPr>
            <a:xfrm>
              <a:off x="8782729" y="1918067"/>
              <a:ext cx="2418336" cy="4115339"/>
            </a:xfrm>
            <a:prstGeom prst="roundRect">
              <a:avLst/>
            </a:prstGeom>
            <a:solidFill>
              <a:schemeClr val="accent2">
                <a:lumMod val="40000"/>
                <a:lumOff val="60000"/>
              </a:schemeClr>
            </a:solidFill>
            <a:ln>
              <a:no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de-DE" sz="990">
                  <a:solidFill>
                    <a:srgbClr val="004080"/>
                  </a:solidFill>
                  <a:latin typeface="Arial" panose="020B0604020202020204" pitchFamily="34" charset="0"/>
                  <a:cs typeface="Arial" panose="020B0604020202020204" pitchFamily="34" charset="0"/>
                </a:rPr>
                <a:t>MACHINE LEARNING</a:t>
              </a:r>
            </a:p>
          </p:txBody>
        </p:sp>
        <p:sp>
          <p:nvSpPr>
            <p:cNvPr id="22" name="Rechteck: abgerundete Ecken 21">
              <a:extLst>
                <a:ext uri="{FF2B5EF4-FFF2-40B4-BE49-F238E27FC236}">
                  <a16:creationId xmlns:a16="http://schemas.microsoft.com/office/drawing/2014/main" id="{A960992D-42F5-D7B4-99F2-E98B5057154C}"/>
                </a:ext>
              </a:extLst>
            </p:cNvPr>
            <p:cNvSpPr/>
            <p:nvPr/>
          </p:nvSpPr>
          <p:spPr>
            <a:xfrm>
              <a:off x="8768442" y="2297794"/>
              <a:ext cx="2146332" cy="3672794"/>
            </a:xfrm>
            <a:prstGeom prst="round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de-DE" sz="990">
                  <a:solidFill>
                    <a:srgbClr val="FFFFFF"/>
                  </a:solidFill>
                  <a:latin typeface="Arial" panose="020B0604020202020204" pitchFamily="34" charset="0"/>
                  <a:cs typeface="Arial" panose="020B0604020202020204" pitchFamily="34" charset="0"/>
                </a:rPr>
                <a:t>GENERATIVE AI</a:t>
              </a:r>
            </a:p>
          </p:txBody>
        </p:sp>
      </p:grpSp>
      <p:grpSp>
        <p:nvGrpSpPr>
          <p:cNvPr id="14" name="Gruppieren 13">
            <a:extLst>
              <a:ext uri="{FF2B5EF4-FFF2-40B4-BE49-F238E27FC236}">
                <a16:creationId xmlns:a16="http://schemas.microsoft.com/office/drawing/2014/main" id="{70CCB307-78F1-7B5C-2577-ECB7BE181974}"/>
              </a:ext>
            </a:extLst>
          </p:cNvPr>
          <p:cNvGrpSpPr/>
          <p:nvPr/>
        </p:nvGrpSpPr>
        <p:grpSpPr>
          <a:xfrm>
            <a:off x="1105376" y="1719376"/>
            <a:ext cx="6981382" cy="1558516"/>
            <a:chOff x="550862" y="1529416"/>
            <a:chExt cx="7757091" cy="1731684"/>
          </a:xfrm>
        </p:grpSpPr>
        <p:sp>
          <p:nvSpPr>
            <p:cNvPr id="15" name="Textplatzhalter 5">
              <a:extLst>
                <a:ext uri="{FF2B5EF4-FFF2-40B4-BE49-F238E27FC236}">
                  <a16:creationId xmlns:a16="http://schemas.microsoft.com/office/drawing/2014/main" id="{85BF2D88-1BF3-1EDE-1837-45BB5478E556}"/>
                </a:ext>
              </a:extLst>
            </p:cNvPr>
            <p:cNvSpPr txBox="1">
              <a:spLocks/>
            </p:cNvSpPr>
            <p:nvPr/>
          </p:nvSpPr>
          <p:spPr>
            <a:xfrm>
              <a:off x="550874" y="1529416"/>
              <a:ext cx="7757079" cy="1731684"/>
            </a:xfrm>
            <a:prstGeom prst="roundRect">
              <a:avLst/>
            </a:prstGeom>
            <a:solidFill>
              <a:srgbClr val="FFFFFF"/>
            </a:solidFill>
            <a:effectLst>
              <a:outerShdw blurRad="63500" algn="ctr" rotWithShape="0">
                <a:prstClr val="black">
                  <a:alpha val="40000"/>
                </a:prstClr>
              </a:outerShdw>
            </a:effectLst>
          </p:spPr>
          <p:txBody>
            <a:bodyPr vert="horz" lIns="388800" tIns="97200" rIns="162000" bIns="97200" rtlCol="0" anchor="ctr">
              <a:noAutofit/>
            </a:bodyPr>
            <a:lstStyle>
              <a:lvl1pPr marL="0" indent="0" algn="l" defTabSz="742950" rtl="0" eaLnBrk="1" latinLnBrk="0" hangingPunct="1">
                <a:lnSpc>
                  <a:spcPct val="100000"/>
                </a:lnSpc>
                <a:spcBef>
                  <a:spcPts val="600"/>
                </a:spcBef>
                <a:buFont typeface="Wingdings" panose="05000000000000000000" pitchFamily="2" charset="2"/>
                <a:buNone/>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defTabSz="668656">
                <a:spcBef>
                  <a:spcPts val="540"/>
                </a:spcBef>
                <a:defRPr/>
              </a:pPr>
              <a:endParaRPr lang="de-DE" sz="1440" b="1">
                <a:solidFill>
                  <a:srgbClr val="368ECE"/>
                </a:solidFill>
                <a:latin typeface="Trebuchet MS"/>
              </a:endParaRPr>
            </a:p>
          </p:txBody>
        </p:sp>
        <p:sp>
          <p:nvSpPr>
            <p:cNvPr id="16" name="Rechteck 15">
              <a:extLst>
                <a:ext uri="{FF2B5EF4-FFF2-40B4-BE49-F238E27FC236}">
                  <a16:creationId xmlns:a16="http://schemas.microsoft.com/office/drawing/2014/main" id="{D06C0C93-81BF-36AB-203B-C50080618198}"/>
                </a:ext>
              </a:extLst>
            </p:cNvPr>
            <p:cNvSpPr/>
            <p:nvPr/>
          </p:nvSpPr>
          <p:spPr>
            <a:xfrm>
              <a:off x="550862" y="1529416"/>
              <a:ext cx="7757079" cy="3605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de-DE" sz="1440" b="1">
                  <a:solidFill>
                    <a:srgbClr val="FFFFFF"/>
                  </a:solidFill>
                  <a:latin typeface="Trebuchet MS"/>
                </a:rPr>
                <a:t>Was ist Generative AI?</a:t>
              </a:r>
              <a:endParaRPr lang="de-DE" sz="1260" b="1">
                <a:solidFill>
                  <a:srgbClr val="FFFFFF"/>
                </a:solidFill>
                <a:latin typeface="Trebuchet MS"/>
              </a:endParaRPr>
            </a:p>
          </p:txBody>
        </p:sp>
        <p:pic>
          <p:nvPicPr>
            <p:cNvPr id="17" name="Grafik 16" descr="Schließendes Anführungszeichen mit einfarbiger Füllung">
              <a:extLst>
                <a:ext uri="{FF2B5EF4-FFF2-40B4-BE49-F238E27FC236}">
                  <a16:creationId xmlns:a16="http://schemas.microsoft.com/office/drawing/2014/main" id="{026C001D-8A5F-43DC-F289-EBC1EC0CC52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795393" y="1969141"/>
              <a:ext cx="1186978" cy="1186978"/>
            </a:xfrm>
            <a:prstGeom prst="rect">
              <a:avLst/>
            </a:prstGeom>
          </p:spPr>
        </p:pic>
        <p:sp>
          <p:nvSpPr>
            <p:cNvPr id="18" name="Textfeld 17">
              <a:extLst>
                <a:ext uri="{FF2B5EF4-FFF2-40B4-BE49-F238E27FC236}">
                  <a16:creationId xmlns:a16="http://schemas.microsoft.com/office/drawing/2014/main" id="{FCB9D653-9CCB-7DEC-EF67-7182964B442E}"/>
                </a:ext>
              </a:extLst>
            </p:cNvPr>
            <p:cNvSpPr txBox="1"/>
            <p:nvPr/>
          </p:nvSpPr>
          <p:spPr>
            <a:xfrm>
              <a:off x="720393" y="1969141"/>
              <a:ext cx="5749418" cy="978795"/>
            </a:xfrm>
            <a:prstGeom prst="rect">
              <a:avLst/>
            </a:prstGeom>
          </p:spPr>
          <p:txBody>
            <a:bodyPr vert="horz" wrap="square" lIns="0" tIns="0" rIns="0" bIns="0" rtlCol="0">
              <a:noAutofit/>
            </a:bodyPr>
            <a:lstStyle/>
            <a:p>
              <a:pPr defTabSz="822960">
                <a:defRPr/>
              </a:pPr>
              <a:r>
                <a:rPr lang="de-DE" sz="1440">
                  <a:solidFill>
                    <a:srgbClr val="000000"/>
                  </a:solidFill>
                  <a:latin typeface="Trebuchet MS"/>
                </a:rPr>
                <a:t>Generative KI bezieht sich auf eine Klasse von KI-Modellen, die darauf ausgelegt sind, </a:t>
              </a:r>
              <a:r>
                <a:rPr lang="de-DE" sz="1440" b="1">
                  <a:solidFill>
                    <a:srgbClr val="000000"/>
                  </a:solidFill>
                  <a:latin typeface="Trebuchet MS"/>
                </a:rPr>
                <a:t>neuen Inhalt wie Text, Bilder, Audio und Video zu erstellen, indem sie aus vorhandenen Daten lernen.</a:t>
              </a:r>
            </a:p>
            <a:p>
              <a:pPr marL="257176" indent="-257176" defTabSz="822960">
                <a:buFont typeface="Wingdings" panose="05000000000000000000" pitchFamily="2" charset="2"/>
                <a:buChar char="§"/>
                <a:defRPr/>
              </a:pPr>
              <a:endParaRPr lang="en-US" sz="1260">
                <a:solidFill>
                  <a:srgbClr val="889194">
                    <a:lumMod val="75000"/>
                  </a:srgbClr>
                </a:solidFill>
                <a:latin typeface="Trebuchet MS"/>
              </a:endParaRPr>
            </a:p>
          </p:txBody>
        </p:sp>
      </p:grpSp>
      <p:sp>
        <p:nvSpPr>
          <p:cNvPr id="23" name="Textplatzhalter 5">
            <a:extLst>
              <a:ext uri="{FF2B5EF4-FFF2-40B4-BE49-F238E27FC236}">
                <a16:creationId xmlns:a16="http://schemas.microsoft.com/office/drawing/2014/main" id="{4DCE5E84-6D98-D3FD-1D15-09B003FB0373}"/>
              </a:ext>
            </a:extLst>
          </p:cNvPr>
          <p:cNvSpPr txBox="1">
            <a:spLocks/>
          </p:cNvSpPr>
          <p:nvPr/>
        </p:nvSpPr>
        <p:spPr>
          <a:xfrm>
            <a:off x="1113800" y="3605132"/>
            <a:ext cx="6981371" cy="2318465"/>
          </a:xfrm>
          <a:prstGeom prst="roundRect">
            <a:avLst/>
          </a:prstGeom>
          <a:solidFill>
            <a:srgbClr val="FFFFFF"/>
          </a:solidFill>
          <a:effectLst>
            <a:outerShdw blurRad="63500" algn="ctr" rotWithShape="0">
              <a:prstClr val="black">
                <a:alpha val="40000"/>
              </a:prstClr>
            </a:outerShdw>
          </a:effectLst>
        </p:spPr>
        <p:txBody>
          <a:bodyPr vert="horz" lIns="388800" tIns="97200" rIns="162000" bIns="97200" rtlCol="0" anchor="ctr">
            <a:noAutofit/>
          </a:bodyPr>
          <a:lstStyle>
            <a:lvl1pPr marL="0" indent="0" algn="l" defTabSz="742950" rtl="0" eaLnBrk="1" latinLnBrk="0" hangingPunct="1">
              <a:lnSpc>
                <a:spcPct val="100000"/>
              </a:lnSpc>
              <a:spcBef>
                <a:spcPts val="600"/>
              </a:spcBef>
              <a:buFont typeface="Wingdings" panose="05000000000000000000" pitchFamily="2" charset="2"/>
              <a:buNone/>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defTabSz="668656">
              <a:spcBef>
                <a:spcPts val="540"/>
              </a:spcBef>
              <a:defRPr/>
            </a:pPr>
            <a:endParaRPr lang="de-DE" sz="1440" b="1">
              <a:solidFill>
                <a:srgbClr val="368ECE"/>
              </a:solidFill>
              <a:latin typeface="Trebuchet MS"/>
            </a:endParaRPr>
          </a:p>
        </p:txBody>
      </p:sp>
      <p:sp>
        <p:nvSpPr>
          <p:cNvPr id="24" name="Rechteck 23">
            <a:extLst>
              <a:ext uri="{FF2B5EF4-FFF2-40B4-BE49-F238E27FC236}">
                <a16:creationId xmlns:a16="http://schemas.microsoft.com/office/drawing/2014/main" id="{AA1779A6-DDA3-086A-0FE2-6FF950648D29}"/>
              </a:ext>
            </a:extLst>
          </p:cNvPr>
          <p:cNvSpPr/>
          <p:nvPr/>
        </p:nvSpPr>
        <p:spPr>
          <a:xfrm>
            <a:off x="1113789" y="3605133"/>
            <a:ext cx="6981371" cy="324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de-DE" sz="1440" b="1">
                <a:solidFill>
                  <a:srgbClr val="FFFFFF"/>
                </a:solidFill>
                <a:latin typeface="Trebuchet MS"/>
              </a:rPr>
              <a:t>Anwendungsbereiche</a:t>
            </a:r>
            <a:endParaRPr lang="de-DE" sz="1260" b="1">
              <a:solidFill>
                <a:srgbClr val="FFFFFF"/>
              </a:solidFill>
              <a:latin typeface="Trebuchet MS"/>
            </a:endParaRPr>
          </a:p>
        </p:txBody>
      </p:sp>
      <p:pic>
        <p:nvPicPr>
          <p:cNvPr id="25" name="Grafik 24" descr="Künstlerin mit einfarbiger Füllung">
            <a:extLst>
              <a:ext uri="{FF2B5EF4-FFF2-40B4-BE49-F238E27FC236}">
                <a16:creationId xmlns:a16="http://schemas.microsoft.com/office/drawing/2014/main" id="{DC037C20-3ECF-AF6F-84DF-51BAACCF7DF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725454" y="4321178"/>
            <a:ext cx="1068281" cy="1068281"/>
          </a:xfrm>
          <a:prstGeom prst="rect">
            <a:avLst/>
          </a:prstGeom>
        </p:spPr>
      </p:pic>
      <p:sp>
        <p:nvSpPr>
          <p:cNvPr id="26" name="Textfeld 25">
            <a:extLst>
              <a:ext uri="{FF2B5EF4-FFF2-40B4-BE49-F238E27FC236}">
                <a16:creationId xmlns:a16="http://schemas.microsoft.com/office/drawing/2014/main" id="{2CCCE7D2-24E7-9AF8-14A5-014DBFCBDA97}"/>
              </a:ext>
            </a:extLst>
          </p:cNvPr>
          <p:cNvSpPr txBox="1"/>
          <p:nvPr/>
        </p:nvSpPr>
        <p:spPr>
          <a:xfrm>
            <a:off x="1175622" y="4027006"/>
            <a:ext cx="5256809" cy="1799437"/>
          </a:xfrm>
          <a:prstGeom prst="rect">
            <a:avLst/>
          </a:prstGeom>
        </p:spPr>
        <p:txBody>
          <a:bodyPr vert="horz" wrap="square" lIns="0" tIns="0" rIns="0" bIns="0" rtlCol="0">
            <a:noAutofit/>
          </a:bodyPr>
          <a:lstStyle/>
          <a:p>
            <a:pPr marL="257176" indent="-257176" defTabSz="822960">
              <a:buFont typeface="Arial" panose="020B0604020202020204" pitchFamily="34" charset="0"/>
              <a:buChar char="•"/>
              <a:defRPr/>
            </a:pPr>
            <a:r>
              <a:rPr lang="de-DE" sz="1440" b="1">
                <a:solidFill>
                  <a:srgbClr val="000000"/>
                </a:solidFill>
                <a:latin typeface="Trebuchet MS"/>
              </a:rPr>
              <a:t>Kreatives Schreiben: </a:t>
            </a:r>
            <a:r>
              <a:rPr lang="de-DE" sz="1440">
                <a:solidFill>
                  <a:srgbClr val="000000"/>
                </a:solidFill>
                <a:latin typeface="Trebuchet MS"/>
              </a:rPr>
              <a:t>Erstellung von Texten, Drehbüchern, Gedichten und Geschichten</a:t>
            </a:r>
          </a:p>
          <a:p>
            <a:pPr marL="257176" indent="-257176" defTabSz="822960">
              <a:buFont typeface="Arial" panose="020B0604020202020204" pitchFamily="34" charset="0"/>
              <a:buChar char="•"/>
              <a:defRPr/>
            </a:pPr>
            <a:r>
              <a:rPr lang="de-DE" sz="1440" b="1">
                <a:solidFill>
                  <a:srgbClr val="000000"/>
                </a:solidFill>
                <a:latin typeface="Trebuchet MS"/>
              </a:rPr>
              <a:t>Grafikdesign: </a:t>
            </a:r>
            <a:r>
              <a:rPr lang="de-DE" sz="1440">
                <a:solidFill>
                  <a:srgbClr val="000000"/>
                </a:solidFill>
                <a:latin typeface="Trebuchet MS"/>
              </a:rPr>
              <a:t>Erstellung von Logos, Illustrationen und Webdesigns</a:t>
            </a:r>
          </a:p>
          <a:p>
            <a:pPr marL="257176" indent="-257176" defTabSz="822960">
              <a:buFont typeface="Arial" panose="020B0604020202020204" pitchFamily="34" charset="0"/>
              <a:buChar char="•"/>
              <a:defRPr/>
            </a:pPr>
            <a:r>
              <a:rPr lang="de-DE" sz="1440" b="1">
                <a:solidFill>
                  <a:srgbClr val="000000"/>
                </a:solidFill>
                <a:latin typeface="Trebuchet MS"/>
              </a:rPr>
              <a:t>Musik- und Audioproduktion: </a:t>
            </a:r>
            <a:r>
              <a:rPr lang="de-DE" sz="1440">
                <a:solidFill>
                  <a:srgbClr val="000000"/>
                </a:solidFill>
                <a:latin typeface="Trebuchet MS"/>
              </a:rPr>
              <a:t>Komposition neuer Melodien, Klanglandschaften und Soundeffekte</a:t>
            </a:r>
          </a:p>
          <a:p>
            <a:pPr marL="257176" indent="-257176" defTabSz="822960">
              <a:buFont typeface="Arial" panose="020B0604020202020204" pitchFamily="34" charset="0"/>
              <a:buChar char="•"/>
              <a:defRPr/>
            </a:pPr>
            <a:r>
              <a:rPr lang="de-DE" sz="1440" b="1">
                <a:solidFill>
                  <a:srgbClr val="000000"/>
                </a:solidFill>
                <a:latin typeface="Trebuchet MS"/>
              </a:rPr>
              <a:t>Video- und Filmproduktion: </a:t>
            </a:r>
            <a:r>
              <a:rPr lang="de-DE" sz="1440">
                <a:solidFill>
                  <a:srgbClr val="000000"/>
                </a:solidFill>
                <a:latin typeface="Trebuchet MS"/>
              </a:rPr>
              <a:t>Generierung von Animationen, visuellen Effekten und Filmmaterial</a:t>
            </a:r>
          </a:p>
        </p:txBody>
      </p:sp>
    </p:spTree>
    <p:extLst>
      <p:ext uri="{BB962C8B-B14F-4D97-AF65-F5344CB8AC3E}">
        <p14:creationId xmlns:p14="http://schemas.microsoft.com/office/powerpoint/2010/main" val="6834380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505C1-AD1B-7419-B43E-DF4EEEC6201B}"/>
              </a:ext>
            </a:extLst>
          </p:cNvPr>
          <p:cNvSpPr>
            <a:spLocks noGrp="1"/>
          </p:cNvSpPr>
          <p:nvPr>
            <p:ph type="title"/>
          </p:nvPr>
        </p:nvSpPr>
        <p:spPr/>
        <p:txBody>
          <a:bodyPr/>
          <a:lstStyle/>
          <a:p>
            <a:r>
              <a:rPr lang="de-DE"/>
              <a:t>Large Language Models (LLMs)</a:t>
            </a:r>
          </a:p>
        </p:txBody>
      </p:sp>
      <p:sp>
        <p:nvSpPr>
          <p:cNvPr id="4" name="Foliennummernplatzhalter 3">
            <a:extLst>
              <a:ext uri="{FF2B5EF4-FFF2-40B4-BE49-F238E27FC236}">
                <a16:creationId xmlns:a16="http://schemas.microsoft.com/office/drawing/2014/main" id="{D7EFACED-2A84-CD77-B7E8-06EFBCE07E8E}"/>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29</a:t>
            </a:fld>
            <a:endParaRPr lang="en-US" sz="810">
              <a:solidFill>
                <a:srgbClr val="889194"/>
              </a:solidFill>
              <a:latin typeface="Trebuchet MS"/>
            </a:endParaRPr>
          </a:p>
        </p:txBody>
      </p:sp>
      <p:sp>
        <p:nvSpPr>
          <p:cNvPr id="7" name="Inhaltsplatzhalter 6">
            <a:extLst>
              <a:ext uri="{FF2B5EF4-FFF2-40B4-BE49-F238E27FC236}">
                <a16:creationId xmlns:a16="http://schemas.microsoft.com/office/drawing/2014/main" id="{C67139D3-D63A-6849-703F-3D6178257B12}"/>
              </a:ext>
            </a:extLst>
          </p:cNvPr>
          <p:cNvSpPr>
            <a:spLocks noGrp="1"/>
          </p:cNvSpPr>
          <p:nvPr>
            <p:ph sz="quarter" idx="17"/>
          </p:nvPr>
        </p:nvSpPr>
        <p:spPr/>
        <p:txBody>
          <a:bodyPr/>
          <a:lstStyle/>
          <a:p>
            <a:endParaRPr lang="de-DE"/>
          </a:p>
        </p:txBody>
      </p:sp>
      <p:grpSp>
        <p:nvGrpSpPr>
          <p:cNvPr id="31" name="Gruppieren 30">
            <a:extLst>
              <a:ext uri="{FF2B5EF4-FFF2-40B4-BE49-F238E27FC236}">
                <a16:creationId xmlns:a16="http://schemas.microsoft.com/office/drawing/2014/main" id="{A7F0FCA2-ED87-C62B-9F54-3CB93432548A}"/>
              </a:ext>
            </a:extLst>
          </p:cNvPr>
          <p:cNvGrpSpPr/>
          <p:nvPr/>
        </p:nvGrpSpPr>
        <p:grpSpPr>
          <a:xfrm>
            <a:off x="8501198" y="1584688"/>
            <a:ext cx="2732806" cy="4241755"/>
            <a:chOff x="8768442" y="1379764"/>
            <a:chExt cx="3036451" cy="4713061"/>
          </a:xfrm>
        </p:grpSpPr>
        <p:sp>
          <p:nvSpPr>
            <p:cNvPr id="32" name="Rechteck: abgerundete Ecken 31">
              <a:extLst>
                <a:ext uri="{FF2B5EF4-FFF2-40B4-BE49-F238E27FC236}">
                  <a16:creationId xmlns:a16="http://schemas.microsoft.com/office/drawing/2014/main" id="{F9BEAD49-8252-C74C-1A4E-B780DDCA4524}"/>
                </a:ext>
              </a:extLst>
            </p:cNvPr>
            <p:cNvSpPr/>
            <p:nvPr/>
          </p:nvSpPr>
          <p:spPr>
            <a:xfrm>
              <a:off x="8768442" y="1379764"/>
              <a:ext cx="3036451" cy="4713061"/>
            </a:xfrm>
            <a:prstGeom prst="roundRect">
              <a:avLst/>
            </a:prstGeom>
            <a:solidFill>
              <a:schemeClr val="accent4"/>
            </a:solidFill>
            <a:ln>
              <a:solidFill>
                <a:schemeClr val="tx2"/>
              </a:solid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en-US" sz="1300" dirty="0">
                  <a:solidFill>
                    <a:srgbClr val="004080"/>
                  </a:solidFill>
                  <a:latin typeface="Arial" panose="020B0604020202020204" pitchFamily="34" charset="0"/>
                  <a:cs typeface="Arial" panose="020B0604020202020204" pitchFamily="34" charset="0"/>
                </a:rPr>
                <a:t>ARTIFICAL INTELLIGENCE</a:t>
              </a:r>
            </a:p>
          </p:txBody>
        </p:sp>
        <p:sp>
          <p:nvSpPr>
            <p:cNvPr id="33" name="Rechteck: abgerundete Ecken 32">
              <a:extLst>
                <a:ext uri="{FF2B5EF4-FFF2-40B4-BE49-F238E27FC236}">
                  <a16:creationId xmlns:a16="http://schemas.microsoft.com/office/drawing/2014/main" id="{FCCDB40A-2576-181F-92B4-546FCA8EF48F}"/>
                </a:ext>
              </a:extLst>
            </p:cNvPr>
            <p:cNvSpPr/>
            <p:nvPr/>
          </p:nvSpPr>
          <p:spPr>
            <a:xfrm>
              <a:off x="8782729" y="1918067"/>
              <a:ext cx="2418336" cy="4115339"/>
            </a:xfrm>
            <a:prstGeom prst="roundRect">
              <a:avLst/>
            </a:prstGeom>
            <a:solidFill>
              <a:schemeClr val="accent2">
                <a:lumMod val="40000"/>
                <a:lumOff val="60000"/>
              </a:schemeClr>
            </a:solidFill>
            <a:ln>
              <a:no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de-DE" sz="990">
                  <a:solidFill>
                    <a:srgbClr val="004080"/>
                  </a:solidFill>
                  <a:latin typeface="Arial" panose="020B0604020202020204" pitchFamily="34" charset="0"/>
                  <a:cs typeface="Arial" panose="020B0604020202020204" pitchFamily="34" charset="0"/>
                </a:rPr>
                <a:t>MACHINE LEARNING</a:t>
              </a:r>
            </a:p>
          </p:txBody>
        </p:sp>
        <p:sp>
          <p:nvSpPr>
            <p:cNvPr id="34" name="Rechteck: abgerundete Ecken 33">
              <a:extLst>
                <a:ext uri="{FF2B5EF4-FFF2-40B4-BE49-F238E27FC236}">
                  <a16:creationId xmlns:a16="http://schemas.microsoft.com/office/drawing/2014/main" id="{3620C7B5-937C-A973-AE57-8C591ADA8326}"/>
                </a:ext>
              </a:extLst>
            </p:cNvPr>
            <p:cNvSpPr/>
            <p:nvPr/>
          </p:nvSpPr>
          <p:spPr>
            <a:xfrm>
              <a:off x="8768442" y="2297794"/>
              <a:ext cx="2146332" cy="3672794"/>
            </a:xfrm>
            <a:prstGeom prst="round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de-DE" sz="990">
                  <a:solidFill>
                    <a:srgbClr val="FFFFFF"/>
                  </a:solidFill>
                  <a:latin typeface="Arial" panose="020B0604020202020204" pitchFamily="34" charset="0"/>
                  <a:cs typeface="Arial" panose="020B0604020202020204" pitchFamily="34" charset="0"/>
                </a:rPr>
                <a:t>GENERATIVE AI</a:t>
              </a:r>
            </a:p>
          </p:txBody>
        </p:sp>
        <p:sp>
          <p:nvSpPr>
            <p:cNvPr id="35" name="Rechteck: abgerundete Ecken 34">
              <a:extLst>
                <a:ext uri="{FF2B5EF4-FFF2-40B4-BE49-F238E27FC236}">
                  <a16:creationId xmlns:a16="http://schemas.microsoft.com/office/drawing/2014/main" id="{DB7C2366-C489-0DE2-B407-76CFE52A942E}"/>
                </a:ext>
              </a:extLst>
            </p:cNvPr>
            <p:cNvSpPr/>
            <p:nvPr/>
          </p:nvSpPr>
          <p:spPr>
            <a:xfrm>
              <a:off x="8768442" y="2637337"/>
              <a:ext cx="1866782" cy="3290886"/>
            </a:xfrm>
            <a:prstGeom prst="round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de-DE" sz="990">
                  <a:solidFill>
                    <a:srgbClr val="FFFFFF"/>
                  </a:solidFill>
                  <a:latin typeface="Arial" panose="020B0604020202020204" pitchFamily="34" charset="0"/>
                  <a:cs typeface="Arial" panose="020B0604020202020204" pitchFamily="34" charset="0"/>
                </a:rPr>
                <a:t>LARGE LANGUAGE MODELS</a:t>
              </a:r>
            </a:p>
            <a:p>
              <a:pPr defTabSz="822960">
                <a:defRPr/>
              </a:pPr>
              <a:endParaRPr lang="de-DE" sz="990">
                <a:solidFill>
                  <a:srgbClr val="FFFFFF"/>
                </a:solidFill>
                <a:latin typeface="Arial" panose="020B0604020202020204" pitchFamily="34" charset="0"/>
                <a:cs typeface="Arial" panose="020B0604020202020204" pitchFamily="34" charset="0"/>
              </a:endParaRPr>
            </a:p>
            <a:p>
              <a:pPr defTabSz="822960">
                <a:defRPr/>
              </a:pPr>
              <a:endParaRPr lang="de-DE" sz="990">
                <a:solidFill>
                  <a:srgbClr val="FFFFFF"/>
                </a:solidFill>
                <a:latin typeface="Arial" panose="020B0604020202020204" pitchFamily="34" charset="0"/>
                <a:cs typeface="Arial" panose="020B0604020202020204" pitchFamily="34" charset="0"/>
              </a:endParaRPr>
            </a:p>
          </p:txBody>
        </p:sp>
        <p:sp>
          <p:nvSpPr>
            <p:cNvPr id="41" name="Textfeld 40">
              <a:extLst>
                <a:ext uri="{FF2B5EF4-FFF2-40B4-BE49-F238E27FC236}">
                  <a16:creationId xmlns:a16="http://schemas.microsoft.com/office/drawing/2014/main" id="{6DBE2559-1594-6D6C-965E-798BE4C7C5CB}"/>
                </a:ext>
              </a:extLst>
            </p:cNvPr>
            <p:cNvSpPr txBox="1"/>
            <p:nvPr/>
          </p:nvSpPr>
          <p:spPr>
            <a:xfrm>
              <a:off x="9058774" y="5367931"/>
              <a:ext cx="1173880" cy="167416"/>
            </a:xfrm>
            <a:prstGeom prst="roundRect">
              <a:avLst/>
            </a:prstGeom>
            <a:solidFill>
              <a:schemeClr val="bg1"/>
            </a:solidFill>
          </p:spPr>
          <p:txBody>
            <a:bodyPr vert="horz" wrap="square" lIns="0" tIns="0" rIns="0" bIns="0" rtlCol="0" anchor="ctr">
              <a:noAutofit/>
            </a:bodyPr>
            <a:lstStyle/>
            <a:p>
              <a:pPr algn="ctr" defTabSz="822960">
                <a:defRPr/>
              </a:pPr>
              <a:r>
                <a:rPr lang="de-DE" sz="990">
                  <a:solidFill>
                    <a:srgbClr val="000000"/>
                  </a:solidFill>
                  <a:latin typeface="Arial" panose="020B0604020202020204" pitchFamily="34" charset="0"/>
                  <a:cs typeface="Arial" panose="020B0604020202020204" pitchFamily="34" charset="0"/>
                </a:rPr>
                <a:t>GPT-4</a:t>
              </a:r>
            </a:p>
          </p:txBody>
        </p:sp>
      </p:grpSp>
      <p:grpSp>
        <p:nvGrpSpPr>
          <p:cNvPr id="8" name="Gruppieren 7">
            <a:extLst>
              <a:ext uri="{FF2B5EF4-FFF2-40B4-BE49-F238E27FC236}">
                <a16:creationId xmlns:a16="http://schemas.microsoft.com/office/drawing/2014/main" id="{DEEF5F77-92B6-FB9C-E764-83F1FE913C2D}"/>
              </a:ext>
            </a:extLst>
          </p:cNvPr>
          <p:cNvGrpSpPr/>
          <p:nvPr/>
        </p:nvGrpSpPr>
        <p:grpSpPr>
          <a:xfrm>
            <a:off x="1105376" y="1719376"/>
            <a:ext cx="6981382" cy="1558516"/>
            <a:chOff x="550862" y="1529416"/>
            <a:chExt cx="7757091" cy="1731684"/>
          </a:xfrm>
        </p:grpSpPr>
        <p:sp>
          <p:nvSpPr>
            <p:cNvPr id="9" name="Textplatzhalter 5">
              <a:extLst>
                <a:ext uri="{FF2B5EF4-FFF2-40B4-BE49-F238E27FC236}">
                  <a16:creationId xmlns:a16="http://schemas.microsoft.com/office/drawing/2014/main" id="{96DD895E-9417-FA91-69C7-E48D142B87A7}"/>
                </a:ext>
              </a:extLst>
            </p:cNvPr>
            <p:cNvSpPr txBox="1">
              <a:spLocks/>
            </p:cNvSpPr>
            <p:nvPr/>
          </p:nvSpPr>
          <p:spPr>
            <a:xfrm>
              <a:off x="550874" y="1529416"/>
              <a:ext cx="7757079" cy="1731684"/>
            </a:xfrm>
            <a:prstGeom prst="roundRect">
              <a:avLst/>
            </a:prstGeom>
            <a:solidFill>
              <a:srgbClr val="FFFFFF"/>
            </a:solidFill>
            <a:effectLst>
              <a:outerShdw blurRad="63500" algn="ctr" rotWithShape="0">
                <a:prstClr val="black">
                  <a:alpha val="40000"/>
                </a:prstClr>
              </a:outerShdw>
            </a:effectLst>
          </p:spPr>
          <p:txBody>
            <a:bodyPr vert="horz" lIns="388800" tIns="97200" rIns="162000" bIns="97200" rtlCol="0" anchor="ctr">
              <a:noAutofit/>
            </a:bodyPr>
            <a:lstStyle>
              <a:lvl1pPr marL="0" indent="0" algn="l" defTabSz="742950" rtl="0" eaLnBrk="1" latinLnBrk="0" hangingPunct="1">
                <a:lnSpc>
                  <a:spcPct val="100000"/>
                </a:lnSpc>
                <a:spcBef>
                  <a:spcPts val="600"/>
                </a:spcBef>
                <a:buFont typeface="Wingdings" panose="05000000000000000000" pitchFamily="2" charset="2"/>
                <a:buNone/>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defTabSz="668656">
                <a:spcBef>
                  <a:spcPts val="540"/>
                </a:spcBef>
                <a:defRPr/>
              </a:pPr>
              <a:endParaRPr lang="de-DE" sz="1440" b="1">
                <a:solidFill>
                  <a:srgbClr val="368ECE"/>
                </a:solidFill>
                <a:latin typeface="Trebuchet MS"/>
              </a:endParaRPr>
            </a:p>
          </p:txBody>
        </p:sp>
        <p:sp>
          <p:nvSpPr>
            <p:cNvPr id="10" name="Rechteck 9">
              <a:extLst>
                <a:ext uri="{FF2B5EF4-FFF2-40B4-BE49-F238E27FC236}">
                  <a16:creationId xmlns:a16="http://schemas.microsoft.com/office/drawing/2014/main" id="{933F7E7C-20F3-49C8-B532-DA1CC599EF8E}"/>
                </a:ext>
              </a:extLst>
            </p:cNvPr>
            <p:cNvSpPr/>
            <p:nvPr/>
          </p:nvSpPr>
          <p:spPr>
            <a:xfrm>
              <a:off x="550862" y="1529416"/>
              <a:ext cx="7757079" cy="3605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de-DE" sz="1440" b="1">
                  <a:solidFill>
                    <a:srgbClr val="FFFFFF"/>
                  </a:solidFill>
                  <a:latin typeface="Trebuchet MS"/>
                </a:rPr>
                <a:t>Was sind Large Language Models?</a:t>
              </a:r>
              <a:endParaRPr lang="de-DE" sz="1260" b="1">
                <a:solidFill>
                  <a:srgbClr val="FFFFFF"/>
                </a:solidFill>
                <a:latin typeface="Trebuchet MS"/>
              </a:endParaRPr>
            </a:p>
          </p:txBody>
        </p:sp>
        <p:pic>
          <p:nvPicPr>
            <p:cNvPr id="11" name="Grafik 10" descr="Schließendes Anführungszeichen mit einfarbiger Füllung">
              <a:extLst>
                <a:ext uri="{FF2B5EF4-FFF2-40B4-BE49-F238E27FC236}">
                  <a16:creationId xmlns:a16="http://schemas.microsoft.com/office/drawing/2014/main" id="{A36E24F8-36AB-2217-56C6-638438E4DDD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795393" y="1969141"/>
              <a:ext cx="1186978" cy="1186978"/>
            </a:xfrm>
            <a:prstGeom prst="rect">
              <a:avLst/>
            </a:prstGeom>
          </p:spPr>
        </p:pic>
        <p:sp>
          <p:nvSpPr>
            <p:cNvPr id="12" name="Textfeld 11">
              <a:extLst>
                <a:ext uri="{FF2B5EF4-FFF2-40B4-BE49-F238E27FC236}">
                  <a16:creationId xmlns:a16="http://schemas.microsoft.com/office/drawing/2014/main" id="{61BDC148-D624-4EF1-62AA-4F72759A47BC}"/>
                </a:ext>
              </a:extLst>
            </p:cNvPr>
            <p:cNvSpPr txBox="1"/>
            <p:nvPr/>
          </p:nvSpPr>
          <p:spPr>
            <a:xfrm>
              <a:off x="720393" y="1969141"/>
              <a:ext cx="5749418" cy="978795"/>
            </a:xfrm>
            <a:prstGeom prst="rect">
              <a:avLst/>
            </a:prstGeom>
          </p:spPr>
          <p:txBody>
            <a:bodyPr vert="horz" wrap="square" lIns="0" tIns="0" rIns="0" bIns="0" rtlCol="0">
              <a:noAutofit/>
            </a:bodyPr>
            <a:lstStyle/>
            <a:p>
              <a:pPr defTabSz="822960">
                <a:defRPr/>
              </a:pPr>
              <a:r>
                <a:rPr lang="de-DE" sz="1440">
                  <a:solidFill>
                    <a:srgbClr val="000000"/>
                  </a:solidFill>
                  <a:latin typeface="Trebuchet MS"/>
                </a:rPr>
                <a:t>Large Language Models wie GPT-4 sind künstliche neuronale Netzwerke, die auf </a:t>
              </a:r>
              <a:r>
                <a:rPr lang="de-DE" sz="1440" b="1">
                  <a:solidFill>
                    <a:srgbClr val="000000"/>
                  </a:solidFill>
                  <a:latin typeface="Trebuchet MS"/>
                </a:rPr>
                <a:t>riesigen Mengen von Textdaten trainiert </a:t>
              </a:r>
              <a:r>
                <a:rPr lang="de-DE" sz="1440">
                  <a:solidFill>
                    <a:srgbClr val="000000"/>
                  </a:solidFill>
                  <a:latin typeface="Trebuchet MS"/>
                </a:rPr>
                <a:t>werden, um menschenähnlichen</a:t>
              </a:r>
              <a:r>
                <a:rPr lang="de-DE" sz="1440" b="1">
                  <a:solidFill>
                    <a:srgbClr val="000000"/>
                  </a:solidFill>
                  <a:latin typeface="Trebuchet MS"/>
                </a:rPr>
                <a:t> Text zu verstehen und zu generieren</a:t>
              </a:r>
              <a:r>
                <a:rPr lang="de-DE" sz="1440">
                  <a:solidFill>
                    <a:srgbClr val="000000"/>
                  </a:solidFill>
                  <a:latin typeface="Trebuchet MS"/>
                </a:rPr>
                <a:t>.</a:t>
              </a:r>
              <a:endParaRPr lang="en-US" sz="1260">
                <a:solidFill>
                  <a:srgbClr val="889194">
                    <a:lumMod val="75000"/>
                  </a:srgbClr>
                </a:solidFill>
                <a:latin typeface="Trebuchet MS"/>
              </a:endParaRPr>
            </a:p>
          </p:txBody>
        </p:sp>
      </p:grpSp>
      <p:sp>
        <p:nvSpPr>
          <p:cNvPr id="13" name="Textplatzhalter 5">
            <a:extLst>
              <a:ext uri="{FF2B5EF4-FFF2-40B4-BE49-F238E27FC236}">
                <a16:creationId xmlns:a16="http://schemas.microsoft.com/office/drawing/2014/main" id="{0E2D236D-5D32-6A72-AA22-923C22423594}"/>
              </a:ext>
            </a:extLst>
          </p:cNvPr>
          <p:cNvSpPr txBox="1">
            <a:spLocks/>
          </p:cNvSpPr>
          <p:nvPr/>
        </p:nvSpPr>
        <p:spPr>
          <a:xfrm>
            <a:off x="1113800" y="3605136"/>
            <a:ext cx="6981371" cy="2102924"/>
          </a:xfrm>
          <a:prstGeom prst="roundRect">
            <a:avLst/>
          </a:prstGeom>
          <a:solidFill>
            <a:srgbClr val="FFFFFF"/>
          </a:solidFill>
          <a:effectLst>
            <a:outerShdw blurRad="63500" algn="ctr" rotWithShape="0">
              <a:prstClr val="black">
                <a:alpha val="40000"/>
              </a:prstClr>
            </a:outerShdw>
          </a:effectLst>
        </p:spPr>
        <p:txBody>
          <a:bodyPr vert="horz" lIns="388800" tIns="97200" rIns="162000" bIns="97200" rtlCol="0" anchor="ctr">
            <a:noAutofit/>
          </a:bodyPr>
          <a:lstStyle>
            <a:lvl1pPr marL="0" indent="0" algn="l" defTabSz="742950" rtl="0" eaLnBrk="1" latinLnBrk="0" hangingPunct="1">
              <a:lnSpc>
                <a:spcPct val="100000"/>
              </a:lnSpc>
              <a:spcBef>
                <a:spcPts val="600"/>
              </a:spcBef>
              <a:buFont typeface="Wingdings" panose="05000000000000000000" pitchFamily="2" charset="2"/>
              <a:buNone/>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defTabSz="668656">
              <a:spcBef>
                <a:spcPts val="540"/>
              </a:spcBef>
              <a:defRPr/>
            </a:pPr>
            <a:endParaRPr lang="de-DE" sz="1440" b="1">
              <a:solidFill>
                <a:srgbClr val="368ECE"/>
              </a:solidFill>
              <a:latin typeface="Trebuchet MS"/>
            </a:endParaRPr>
          </a:p>
        </p:txBody>
      </p:sp>
      <p:sp>
        <p:nvSpPr>
          <p:cNvPr id="14" name="Rechteck 13">
            <a:extLst>
              <a:ext uri="{FF2B5EF4-FFF2-40B4-BE49-F238E27FC236}">
                <a16:creationId xmlns:a16="http://schemas.microsoft.com/office/drawing/2014/main" id="{C4DA0159-80D6-F1BE-5854-35AD816BAF66}"/>
              </a:ext>
            </a:extLst>
          </p:cNvPr>
          <p:cNvSpPr/>
          <p:nvPr/>
        </p:nvSpPr>
        <p:spPr>
          <a:xfrm>
            <a:off x="1113789" y="3605133"/>
            <a:ext cx="6981371" cy="324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de-DE" sz="1440" b="1">
                <a:solidFill>
                  <a:srgbClr val="FFFFFF"/>
                </a:solidFill>
                <a:latin typeface="Trebuchet MS"/>
              </a:rPr>
              <a:t>Eigenschaften</a:t>
            </a:r>
            <a:endParaRPr lang="de-DE" sz="1260" b="1">
              <a:solidFill>
                <a:srgbClr val="FFFFFF"/>
              </a:solidFill>
              <a:latin typeface="Trebuchet MS"/>
            </a:endParaRPr>
          </a:p>
        </p:txBody>
      </p:sp>
      <p:pic>
        <p:nvPicPr>
          <p:cNvPr id="15" name="Grafik 14" descr="Lupe mit einfarbiger Füllung">
            <a:extLst>
              <a:ext uri="{FF2B5EF4-FFF2-40B4-BE49-F238E27FC236}">
                <a16:creationId xmlns:a16="http://schemas.microsoft.com/office/drawing/2014/main" id="{9433DA0D-DCC2-7CB2-C1F7-4D094F4A950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725454" y="4256432"/>
            <a:ext cx="1068281" cy="1068281"/>
          </a:xfrm>
          <a:prstGeom prst="rect">
            <a:avLst/>
          </a:prstGeom>
        </p:spPr>
      </p:pic>
      <p:sp>
        <p:nvSpPr>
          <p:cNvPr id="16" name="Textfeld 15">
            <a:extLst>
              <a:ext uri="{FF2B5EF4-FFF2-40B4-BE49-F238E27FC236}">
                <a16:creationId xmlns:a16="http://schemas.microsoft.com/office/drawing/2014/main" id="{DC9779DC-6A43-A321-EDEA-C1287B33F7A1}"/>
              </a:ext>
            </a:extLst>
          </p:cNvPr>
          <p:cNvSpPr txBox="1"/>
          <p:nvPr/>
        </p:nvSpPr>
        <p:spPr>
          <a:xfrm>
            <a:off x="1175622" y="4027005"/>
            <a:ext cx="5256809" cy="880915"/>
          </a:xfrm>
          <a:prstGeom prst="rect">
            <a:avLst/>
          </a:prstGeom>
        </p:spPr>
        <p:txBody>
          <a:bodyPr vert="horz" wrap="square" lIns="0" tIns="0" rIns="0" bIns="0" rtlCol="0">
            <a:noAutofit/>
          </a:bodyPr>
          <a:lstStyle/>
          <a:p>
            <a:pPr marL="257176" indent="-257176" defTabSz="822960">
              <a:buFont typeface="Arial" panose="020B0604020202020204" pitchFamily="34" charset="0"/>
              <a:buChar char="•"/>
              <a:defRPr/>
            </a:pPr>
            <a:r>
              <a:rPr lang="de-DE" sz="1440" b="1" dirty="0">
                <a:solidFill>
                  <a:srgbClr val="000000"/>
                </a:solidFill>
                <a:latin typeface="Trebuchet MS"/>
              </a:rPr>
              <a:t>Transformer-Architektur: </a:t>
            </a:r>
            <a:r>
              <a:rPr lang="de-DE" sz="1440" dirty="0">
                <a:solidFill>
                  <a:srgbClr val="000000"/>
                </a:solidFill>
                <a:latin typeface="Trebuchet MS"/>
              </a:rPr>
              <a:t>Neuronales Netzwerkmodell, das speziell für effiziente parallele Berechnungen in natürlicher Sprachverarbeitung entwickelt wurde</a:t>
            </a:r>
          </a:p>
          <a:p>
            <a:pPr marL="257176" indent="-257176" defTabSz="822960">
              <a:buFont typeface="Arial" panose="020B0604020202020204" pitchFamily="34" charset="0"/>
              <a:buChar char="•"/>
              <a:defRPr/>
            </a:pPr>
            <a:r>
              <a:rPr lang="de-DE" sz="1440" b="1" dirty="0">
                <a:solidFill>
                  <a:srgbClr val="000000"/>
                </a:solidFill>
                <a:latin typeface="Trebuchet MS"/>
              </a:rPr>
              <a:t>Größe: </a:t>
            </a:r>
            <a:r>
              <a:rPr lang="de-DE" sz="1440" dirty="0">
                <a:solidFill>
                  <a:srgbClr val="000000"/>
                </a:solidFill>
                <a:latin typeface="Trebuchet MS"/>
              </a:rPr>
              <a:t>Sehr große Modelle mit Millionen oder sogar Milliarden von Parametern </a:t>
            </a:r>
          </a:p>
          <a:p>
            <a:pPr marL="257176" indent="-257176" defTabSz="822960">
              <a:buFont typeface="Arial" panose="020B0604020202020204" pitchFamily="34" charset="0"/>
              <a:buChar char="•"/>
              <a:defRPr/>
            </a:pPr>
            <a:r>
              <a:rPr lang="de-DE" sz="1440" b="1" dirty="0">
                <a:solidFill>
                  <a:srgbClr val="000000"/>
                </a:solidFill>
                <a:latin typeface="Trebuchet MS"/>
              </a:rPr>
              <a:t>Erstellungsaufwand: </a:t>
            </a:r>
            <a:r>
              <a:rPr lang="de-DE" sz="1440" dirty="0">
                <a:solidFill>
                  <a:srgbClr val="000000"/>
                </a:solidFill>
                <a:latin typeface="Trebuchet MS"/>
              </a:rPr>
              <a:t>Ressourcenverbrauch mit Kosten in Millionenhöhe</a:t>
            </a:r>
          </a:p>
        </p:txBody>
      </p:sp>
    </p:spTree>
    <p:extLst>
      <p:ext uri="{BB962C8B-B14F-4D97-AF65-F5344CB8AC3E}">
        <p14:creationId xmlns:p14="http://schemas.microsoft.com/office/powerpoint/2010/main" val="3033757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5A1E3F-A47E-B8CF-DA91-3467D661E0F2}"/>
              </a:ext>
            </a:extLst>
          </p:cNvPr>
          <p:cNvSpPr>
            <a:spLocks noGrp="1"/>
          </p:cNvSpPr>
          <p:nvPr>
            <p:ph type="title"/>
          </p:nvPr>
        </p:nvSpPr>
        <p:spPr/>
        <p:txBody>
          <a:bodyPr/>
          <a:lstStyle/>
          <a:p>
            <a:r>
              <a:rPr lang="de-DE" dirty="0"/>
              <a:t>Forschung </a:t>
            </a:r>
            <a:r>
              <a:rPr lang="de-DE" dirty="0" err="1"/>
              <a:t>Process</a:t>
            </a:r>
            <a:r>
              <a:rPr lang="de-DE" dirty="0"/>
              <a:t> Analytics</a:t>
            </a:r>
          </a:p>
        </p:txBody>
      </p:sp>
      <p:sp>
        <p:nvSpPr>
          <p:cNvPr id="4" name="Foliennummernplatzhalter 3">
            <a:extLst>
              <a:ext uri="{FF2B5EF4-FFF2-40B4-BE49-F238E27FC236}">
                <a16:creationId xmlns:a16="http://schemas.microsoft.com/office/drawing/2014/main" id="{C99B7FF7-5C7C-EE61-0EA4-A198CA7EE064}"/>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3</a:t>
            </a:fld>
            <a:r>
              <a:rPr lang="de-DE" spc="-10" dirty="0"/>
              <a:t> • </a:t>
            </a:r>
            <a:r>
              <a:rPr lang="de-DE" spc="-5" dirty="0"/>
              <a:t>Prof. </a:t>
            </a:r>
            <a:r>
              <a:rPr lang="de-DE" spc="-10" dirty="0"/>
              <a:t>Dr. Agnes Koschmider • Generative KI</a:t>
            </a:r>
          </a:p>
        </p:txBody>
      </p:sp>
      <p:sp>
        <p:nvSpPr>
          <p:cNvPr id="5" name="Fußzeilenplatzhalter 4">
            <a:extLst>
              <a:ext uri="{FF2B5EF4-FFF2-40B4-BE49-F238E27FC236}">
                <a16:creationId xmlns:a16="http://schemas.microsoft.com/office/drawing/2014/main" id="{3AFE2385-7CB9-9EAA-DF51-F3B07F3D7E4F}"/>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cxnSp>
        <p:nvCxnSpPr>
          <p:cNvPr id="6" name="Gerade Verbindung mit Pfeil 5">
            <a:extLst>
              <a:ext uri="{FF2B5EF4-FFF2-40B4-BE49-F238E27FC236}">
                <a16:creationId xmlns:a16="http://schemas.microsoft.com/office/drawing/2014/main" id="{171326A7-EF00-8E1F-2009-46962BB60E62}"/>
              </a:ext>
            </a:extLst>
          </p:cNvPr>
          <p:cNvCxnSpPr>
            <a:stCxn id="10" idx="3"/>
            <a:endCxn id="12" idx="1"/>
          </p:cNvCxnSpPr>
          <p:nvPr/>
        </p:nvCxnSpPr>
        <p:spPr bwMode="auto">
          <a:xfrm>
            <a:off x="2403400" y="1996690"/>
            <a:ext cx="846463" cy="0"/>
          </a:xfrm>
          <a:prstGeom prst="straightConnector1">
            <a:avLst/>
          </a:prstGeom>
          <a:noFill/>
          <a:ln w="57150" cap="flat" cmpd="sng" algn="ctr">
            <a:solidFill>
              <a:srgbClr val="038A5E"/>
            </a:solidFill>
            <a:prstDash val="solid"/>
            <a:round/>
            <a:headEnd type="none" w="med" len="med"/>
            <a:tailEnd type="triangle"/>
          </a:ln>
          <a:effectLst/>
        </p:spPr>
      </p:cxnSp>
      <p:cxnSp>
        <p:nvCxnSpPr>
          <p:cNvPr id="7" name="Gerade Verbindung mit Pfeil 6">
            <a:extLst>
              <a:ext uri="{FF2B5EF4-FFF2-40B4-BE49-F238E27FC236}">
                <a16:creationId xmlns:a16="http://schemas.microsoft.com/office/drawing/2014/main" id="{B3C500EE-7B45-FE5F-FC1C-2B3E3652C9BA}"/>
              </a:ext>
            </a:extLst>
          </p:cNvPr>
          <p:cNvCxnSpPr>
            <a:stCxn id="12" idx="3"/>
            <a:endCxn id="14" idx="1"/>
          </p:cNvCxnSpPr>
          <p:nvPr/>
        </p:nvCxnSpPr>
        <p:spPr bwMode="auto">
          <a:xfrm>
            <a:off x="4537682" y="1996690"/>
            <a:ext cx="894087" cy="0"/>
          </a:xfrm>
          <a:prstGeom prst="straightConnector1">
            <a:avLst/>
          </a:prstGeom>
          <a:noFill/>
          <a:ln w="57150" cap="flat" cmpd="sng" algn="ctr">
            <a:solidFill>
              <a:srgbClr val="038A5E"/>
            </a:solidFill>
            <a:prstDash val="solid"/>
            <a:round/>
            <a:headEnd type="none" w="med" len="med"/>
            <a:tailEnd type="triangle"/>
          </a:ln>
          <a:effectLst/>
        </p:spPr>
      </p:cxnSp>
      <p:cxnSp>
        <p:nvCxnSpPr>
          <p:cNvPr id="8" name="Gerade Verbindung mit Pfeil 7">
            <a:extLst>
              <a:ext uri="{FF2B5EF4-FFF2-40B4-BE49-F238E27FC236}">
                <a16:creationId xmlns:a16="http://schemas.microsoft.com/office/drawing/2014/main" id="{CB3E1197-2426-9B4E-76A9-A58C48BA2463}"/>
              </a:ext>
            </a:extLst>
          </p:cNvPr>
          <p:cNvCxnSpPr>
            <a:cxnSpLocks/>
            <a:stCxn id="14" idx="3"/>
          </p:cNvCxnSpPr>
          <p:nvPr/>
        </p:nvCxnSpPr>
        <p:spPr bwMode="auto">
          <a:xfrm>
            <a:off x="6719588" y="1996690"/>
            <a:ext cx="894087" cy="9342"/>
          </a:xfrm>
          <a:prstGeom prst="straightConnector1">
            <a:avLst/>
          </a:prstGeom>
          <a:noFill/>
          <a:ln w="57150" cap="flat" cmpd="sng" algn="ctr">
            <a:solidFill>
              <a:srgbClr val="038A5E"/>
            </a:solidFill>
            <a:prstDash val="solid"/>
            <a:round/>
            <a:headEnd type="none" w="med" len="med"/>
            <a:tailEnd type="triangle"/>
          </a:ln>
          <a:effectLst/>
        </p:spPr>
      </p:cxnSp>
      <p:cxnSp>
        <p:nvCxnSpPr>
          <p:cNvPr id="9" name="Gerade Verbindung mit Pfeil 8">
            <a:extLst>
              <a:ext uri="{FF2B5EF4-FFF2-40B4-BE49-F238E27FC236}">
                <a16:creationId xmlns:a16="http://schemas.microsoft.com/office/drawing/2014/main" id="{CCB873F6-1938-FA24-D3F4-D8124A650659}"/>
              </a:ext>
            </a:extLst>
          </p:cNvPr>
          <p:cNvCxnSpPr>
            <a:cxnSpLocks/>
          </p:cNvCxnSpPr>
          <p:nvPr/>
        </p:nvCxnSpPr>
        <p:spPr bwMode="auto">
          <a:xfrm>
            <a:off x="8901494" y="2006032"/>
            <a:ext cx="860512" cy="8709"/>
          </a:xfrm>
          <a:prstGeom prst="straightConnector1">
            <a:avLst/>
          </a:prstGeom>
          <a:noFill/>
          <a:ln w="57150" cap="flat" cmpd="sng" algn="ctr">
            <a:solidFill>
              <a:srgbClr val="038A5E"/>
            </a:solidFill>
            <a:prstDash val="solid"/>
            <a:round/>
            <a:headEnd type="none" w="med" len="med"/>
            <a:tailEnd type="triangle"/>
          </a:ln>
          <a:effectLst/>
        </p:spPr>
      </p:cxnSp>
      <p:sp>
        <p:nvSpPr>
          <p:cNvPr id="10" name="Rechteck: abgerundete Ecken 5">
            <a:extLst>
              <a:ext uri="{FF2B5EF4-FFF2-40B4-BE49-F238E27FC236}">
                <a16:creationId xmlns:a16="http://schemas.microsoft.com/office/drawing/2014/main" id="{E3A81ACA-089B-1A70-5586-9D8F6251BDD3}"/>
              </a:ext>
            </a:extLst>
          </p:cNvPr>
          <p:cNvSpPr>
            <a:spLocks noChangeAspect="1"/>
          </p:cNvSpPr>
          <p:nvPr/>
        </p:nvSpPr>
        <p:spPr bwMode="auto">
          <a:xfrm>
            <a:off x="1115581" y="1352780"/>
            <a:ext cx="1287819" cy="1287819"/>
          </a:xfrm>
          <a:prstGeom prst="roundRect">
            <a:avLst/>
          </a:prstGeom>
          <a:solidFill>
            <a:schemeClr val="tx1">
              <a:alpha val="40000"/>
            </a:schemeClr>
          </a:solidFill>
          <a:ln w="31750" cap="flat" cmpd="sng" algn="ctr">
            <a:solidFill>
              <a:srgbClr val="038A5E"/>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01713"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effectLst/>
              <a:latin typeface="Trebuchet MS" panose="020B0603020202020204" pitchFamily="34" charset="0"/>
            </a:endParaRPr>
          </a:p>
        </p:txBody>
      </p:sp>
      <p:pic>
        <p:nvPicPr>
          <p:cNvPr id="11" name="Grafik 10">
            <a:extLst>
              <a:ext uri="{FF2B5EF4-FFF2-40B4-BE49-F238E27FC236}">
                <a16:creationId xmlns:a16="http://schemas.microsoft.com/office/drawing/2014/main" id="{60256F16-4D7E-D71D-C379-9F3F88E5D261}"/>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373146" y="1610344"/>
            <a:ext cx="772692" cy="772692"/>
          </a:xfrm>
          <a:prstGeom prst="rect">
            <a:avLst/>
          </a:prstGeom>
        </p:spPr>
      </p:pic>
      <p:sp>
        <p:nvSpPr>
          <p:cNvPr id="12" name="Rechteck: abgerundete Ecken 15">
            <a:extLst>
              <a:ext uri="{FF2B5EF4-FFF2-40B4-BE49-F238E27FC236}">
                <a16:creationId xmlns:a16="http://schemas.microsoft.com/office/drawing/2014/main" id="{7C3BF584-D47E-631F-F4D6-4BA4E3E941E7}"/>
              </a:ext>
            </a:extLst>
          </p:cNvPr>
          <p:cNvSpPr>
            <a:spLocks noChangeAspect="1"/>
          </p:cNvSpPr>
          <p:nvPr/>
        </p:nvSpPr>
        <p:spPr bwMode="auto">
          <a:xfrm>
            <a:off x="3249863" y="1352780"/>
            <a:ext cx="1287819" cy="1287819"/>
          </a:xfrm>
          <a:prstGeom prst="roundRect">
            <a:avLst/>
          </a:prstGeom>
          <a:solidFill>
            <a:schemeClr val="tx1">
              <a:alpha val="40000"/>
            </a:schemeClr>
          </a:solidFill>
          <a:ln w="31750" cap="flat" cmpd="sng" algn="ctr">
            <a:solidFill>
              <a:srgbClr val="038A5E"/>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01713"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effectLst/>
              <a:latin typeface="Trebuchet MS" panose="020B0603020202020204" pitchFamily="34" charset="0"/>
            </a:endParaRPr>
          </a:p>
        </p:txBody>
      </p:sp>
      <p:pic>
        <p:nvPicPr>
          <p:cNvPr id="13" name="Grafik 12">
            <a:extLst>
              <a:ext uri="{FF2B5EF4-FFF2-40B4-BE49-F238E27FC236}">
                <a16:creationId xmlns:a16="http://schemas.microsoft.com/office/drawing/2014/main" id="{BA66D921-95EC-E767-F8EA-EC4D4F8F7C9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3553380" y="1610344"/>
            <a:ext cx="680786" cy="772692"/>
          </a:xfrm>
          <a:prstGeom prst="rect">
            <a:avLst/>
          </a:prstGeom>
          <a:noFill/>
        </p:spPr>
      </p:pic>
      <p:sp>
        <p:nvSpPr>
          <p:cNvPr id="14" name="Rechteck: abgerundete Ecken 10">
            <a:extLst>
              <a:ext uri="{FF2B5EF4-FFF2-40B4-BE49-F238E27FC236}">
                <a16:creationId xmlns:a16="http://schemas.microsoft.com/office/drawing/2014/main" id="{54C0BC35-1122-3092-AF2B-5F83625B19AF}"/>
              </a:ext>
            </a:extLst>
          </p:cNvPr>
          <p:cNvSpPr>
            <a:spLocks noChangeAspect="1"/>
          </p:cNvSpPr>
          <p:nvPr/>
        </p:nvSpPr>
        <p:spPr bwMode="auto">
          <a:xfrm>
            <a:off x="5431769" y="1352780"/>
            <a:ext cx="1287819" cy="1287819"/>
          </a:xfrm>
          <a:prstGeom prst="roundRect">
            <a:avLst/>
          </a:prstGeom>
          <a:solidFill>
            <a:schemeClr val="tx1">
              <a:alpha val="40000"/>
            </a:schemeClr>
          </a:solidFill>
          <a:ln w="31750" cap="flat" cmpd="sng" algn="ctr">
            <a:solidFill>
              <a:srgbClr val="038A5E"/>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01713"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effectLst/>
              <a:latin typeface="Trebuchet MS" panose="020B0603020202020204" pitchFamily="34" charset="0"/>
            </a:endParaRPr>
          </a:p>
        </p:txBody>
      </p:sp>
      <p:grpSp>
        <p:nvGrpSpPr>
          <p:cNvPr id="15" name="Gruppieren 14">
            <a:extLst>
              <a:ext uri="{FF2B5EF4-FFF2-40B4-BE49-F238E27FC236}">
                <a16:creationId xmlns:a16="http://schemas.microsoft.com/office/drawing/2014/main" id="{C07AC697-ACD0-E5D5-157C-8C96323BBD75}"/>
              </a:ext>
            </a:extLst>
          </p:cNvPr>
          <p:cNvGrpSpPr/>
          <p:nvPr/>
        </p:nvGrpSpPr>
        <p:grpSpPr>
          <a:xfrm>
            <a:off x="5774546" y="1628447"/>
            <a:ext cx="602266" cy="736484"/>
            <a:chOff x="4485491" y="2155742"/>
            <a:chExt cx="841793" cy="1029393"/>
          </a:xfrm>
        </p:grpSpPr>
        <p:pic>
          <p:nvPicPr>
            <p:cNvPr id="16" name="Grafik 15">
              <a:extLst>
                <a:ext uri="{FF2B5EF4-FFF2-40B4-BE49-F238E27FC236}">
                  <a16:creationId xmlns:a16="http://schemas.microsoft.com/office/drawing/2014/main" id="{291AA646-FC5D-BE14-BFD0-AB8CF0A388C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4485491" y="2155742"/>
              <a:ext cx="841793" cy="841793"/>
            </a:xfrm>
            <a:prstGeom prst="rect">
              <a:avLst/>
            </a:prstGeom>
            <a:ln>
              <a:noFill/>
            </a:ln>
          </p:spPr>
        </p:pic>
        <p:sp>
          <p:nvSpPr>
            <p:cNvPr id="17" name="Rechteck: abgerundete Ecken 1">
              <a:extLst>
                <a:ext uri="{FF2B5EF4-FFF2-40B4-BE49-F238E27FC236}">
                  <a16:creationId xmlns:a16="http://schemas.microsoft.com/office/drawing/2014/main" id="{B2A295D7-A135-CF33-7462-04F39744D411}"/>
                </a:ext>
              </a:extLst>
            </p:cNvPr>
            <p:cNvSpPr/>
            <p:nvPr/>
          </p:nvSpPr>
          <p:spPr bwMode="auto">
            <a:xfrm>
              <a:off x="4705739" y="3016530"/>
              <a:ext cx="401156" cy="168605"/>
            </a:xfrm>
            <a:prstGeom prst="roundRect">
              <a:avLst/>
            </a:prstGeom>
            <a:no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01713"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effectLst/>
                <a:latin typeface="Trebuchet MS" panose="020B0603020202020204" pitchFamily="34" charset="0"/>
              </a:endParaRPr>
            </a:p>
          </p:txBody>
        </p:sp>
      </p:grpSp>
      <p:grpSp>
        <p:nvGrpSpPr>
          <p:cNvPr id="18" name="Gruppieren 17">
            <a:extLst>
              <a:ext uri="{FF2B5EF4-FFF2-40B4-BE49-F238E27FC236}">
                <a16:creationId xmlns:a16="http://schemas.microsoft.com/office/drawing/2014/main" id="{991100B3-844D-E39F-5FFB-7EC8F91CE9A4}"/>
              </a:ext>
            </a:extLst>
          </p:cNvPr>
          <p:cNvGrpSpPr/>
          <p:nvPr/>
        </p:nvGrpSpPr>
        <p:grpSpPr>
          <a:xfrm>
            <a:off x="9762006" y="1370831"/>
            <a:ext cx="1484230" cy="1287819"/>
            <a:chOff x="9762006" y="1370831"/>
            <a:chExt cx="1484230" cy="1287819"/>
          </a:xfrm>
        </p:grpSpPr>
        <p:grpSp>
          <p:nvGrpSpPr>
            <p:cNvPr id="19" name="Gruppieren 18">
              <a:extLst>
                <a:ext uri="{FF2B5EF4-FFF2-40B4-BE49-F238E27FC236}">
                  <a16:creationId xmlns:a16="http://schemas.microsoft.com/office/drawing/2014/main" id="{2A6779CF-0037-298E-9D1E-904F96D8E924}"/>
                </a:ext>
              </a:extLst>
            </p:cNvPr>
            <p:cNvGrpSpPr/>
            <p:nvPr/>
          </p:nvGrpSpPr>
          <p:grpSpPr>
            <a:xfrm>
              <a:off x="9826505" y="1645523"/>
              <a:ext cx="1419731" cy="738436"/>
              <a:chOff x="9928952" y="2912940"/>
              <a:chExt cx="1984374" cy="1032121"/>
            </a:xfrm>
          </p:grpSpPr>
          <p:sp>
            <p:nvSpPr>
              <p:cNvPr id="32" name="Textfeld 31">
                <a:extLst>
                  <a:ext uri="{FF2B5EF4-FFF2-40B4-BE49-F238E27FC236}">
                    <a16:creationId xmlns:a16="http://schemas.microsoft.com/office/drawing/2014/main" id="{D0EEF7EA-A674-BB75-4A4E-DD8BDAD44D33}"/>
                  </a:ext>
                </a:extLst>
              </p:cNvPr>
              <p:cNvSpPr txBox="1"/>
              <p:nvPr/>
            </p:nvSpPr>
            <p:spPr>
              <a:xfrm>
                <a:off x="11913326" y="2952206"/>
                <a:ext cx="0" cy="0"/>
              </a:xfrm>
              <a:prstGeom prst="rect">
                <a:avLst/>
              </a:prstGeom>
            </p:spPr>
            <p:txBody>
              <a:bodyPr vert="horz" wrap="none" lIns="0" tIns="0" rIns="0" bIns="0" rtlCol="0">
                <a:noAutofit/>
              </a:bodyPr>
              <a:lstStyle/>
              <a:p>
                <a:pPr marL="285750" indent="-285750" algn="l">
                  <a:buFont typeface="Wingdings" panose="05000000000000000000" pitchFamily="2" charset="2"/>
                  <a:buChar char="§"/>
                </a:pPr>
                <a:endParaRPr lang="de-DE" sz="1400" err="1">
                  <a:solidFill>
                    <a:schemeClr val="accent3">
                      <a:lumMod val="75000"/>
                    </a:schemeClr>
                  </a:solidFill>
                  <a:latin typeface="Trebuchet MS" panose="020B0603020202020204" pitchFamily="34" charset="0"/>
                </a:endParaRPr>
              </a:p>
            </p:txBody>
          </p:sp>
          <p:sp>
            <p:nvSpPr>
              <p:cNvPr id="33" name="Abgerundetes Rechteck 144">
                <a:extLst>
                  <a:ext uri="{FF2B5EF4-FFF2-40B4-BE49-F238E27FC236}">
                    <a16:creationId xmlns:a16="http://schemas.microsoft.com/office/drawing/2014/main" id="{E8AB9E89-922A-1B69-96A2-C44050BE0E5B}"/>
                  </a:ext>
                </a:extLst>
              </p:cNvPr>
              <p:cNvSpPr/>
              <p:nvPr/>
            </p:nvSpPr>
            <p:spPr>
              <a:xfrm>
                <a:off x="9928952" y="3200459"/>
                <a:ext cx="216000" cy="180000"/>
              </a:xfrm>
              <a:prstGeom prst="roundRect">
                <a:avLst/>
              </a:prstGeom>
              <a:solidFill>
                <a:schemeClr val="tx1">
                  <a:alpha val="39700"/>
                </a:schemeClr>
              </a:solidFill>
              <a:ln>
                <a:solidFill>
                  <a:schemeClr val="bg1">
                    <a:alpha val="4033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34" name="Abgerundetes Rechteck 145">
                <a:extLst>
                  <a:ext uri="{FF2B5EF4-FFF2-40B4-BE49-F238E27FC236}">
                    <a16:creationId xmlns:a16="http://schemas.microsoft.com/office/drawing/2014/main" id="{6BC7814E-66A6-FD50-3274-CCC74E09A003}"/>
                  </a:ext>
                </a:extLst>
              </p:cNvPr>
              <p:cNvSpPr/>
              <p:nvPr/>
            </p:nvSpPr>
            <p:spPr>
              <a:xfrm>
                <a:off x="10231291" y="2915668"/>
                <a:ext cx="216000" cy="180000"/>
              </a:xfrm>
              <a:prstGeom prst="roundRect">
                <a:avLst/>
              </a:prstGeom>
              <a:solidFill>
                <a:schemeClr val="tx1">
                  <a:alpha val="39700"/>
                </a:schemeClr>
              </a:solidFill>
              <a:ln>
                <a:solidFill>
                  <a:schemeClr val="bg1">
                    <a:alpha val="4033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35" name="Abgerundetes Rechteck 146">
                <a:extLst>
                  <a:ext uri="{FF2B5EF4-FFF2-40B4-BE49-F238E27FC236}">
                    <a16:creationId xmlns:a16="http://schemas.microsoft.com/office/drawing/2014/main" id="{C5E82F12-48C6-549A-35EC-71343FB021CB}"/>
                  </a:ext>
                </a:extLst>
              </p:cNvPr>
              <p:cNvSpPr/>
              <p:nvPr/>
            </p:nvSpPr>
            <p:spPr>
              <a:xfrm>
                <a:off x="10231291" y="3481930"/>
                <a:ext cx="216000" cy="180000"/>
              </a:xfrm>
              <a:prstGeom prst="round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36" name="Abgerundetes Rechteck 147">
                <a:extLst>
                  <a:ext uri="{FF2B5EF4-FFF2-40B4-BE49-F238E27FC236}">
                    <a16:creationId xmlns:a16="http://schemas.microsoft.com/office/drawing/2014/main" id="{B7EEE4F3-0470-72A2-CB31-D0DC73A11440}"/>
                  </a:ext>
                </a:extLst>
              </p:cNvPr>
              <p:cNvSpPr/>
              <p:nvPr/>
            </p:nvSpPr>
            <p:spPr>
              <a:xfrm>
                <a:off x="10799969" y="3198799"/>
                <a:ext cx="216000" cy="180000"/>
              </a:xfrm>
              <a:prstGeom prst="roundRect">
                <a:avLst/>
              </a:prstGeom>
              <a:solidFill>
                <a:schemeClr val="tx1">
                  <a:alpha val="39700"/>
                </a:schemeClr>
              </a:solidFill>
              <a:ln>
                <a:solidFill>
                  <a:schemeClr val="bg1">
                    <a:alpha val="4033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37" name="Abgerundetes Rechteck 148">
                <a:extLst>
                  <a:ext uri="{FF2B5EF4-FFF2-40B4-BE49-F238E27FC236}">
                    <a16:creationId xmlns:a16="http://schemas.microsoft.com/office/drawing/2014/main" id="{02B1E582-BE82-9A8D-4601-ACAEEDBF6DAE}"/>
                  </a:ext>
                </a:extLst>
              </p:cNvPr>
              <p:cNvSpPr/>
              <p:nvPr/>
            </p:nvSpPr>
            <p:spPr>
              <a:xfrm>
                <a:off x="10799969" y="3765061"/>
                <a:ext cx="216000" cy="180000"/>
              </a:xfrm>
              <a:prstGeom prst="roundRect">
                <a:avLst/>
              </a:prstGeom>
              <a:solidFill>
                <a:schemeClr val="tx1">
                  <a:alpha val="39700"/>
                </a:schemeClr>
              </a:solidFill>
              <a:ln>
                <a:solidFill>
                  <a:schemeClr val="bg1">
                    <a:alpha val="4033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38" name="Oval 149">
                <a:extLst>
                  <a:ext uri="{FF2B5EF4-FFF2-40B4-BE49-F238E27FC236}">
                    <a16:creationId xmlns:a16="http://schemas.microsoft.com/office/drawing/2014/main" id="{44578AB5-0F4B-62C2-8436-0AA77E036B0F}"/>
                  </a:ext>
                </a:extLst>
              </p:cNvPr>
              <p:cNvSpPr>
                <a:spLocks noChangeAspect="1"/>
              </p:cNvSpPr>
              <p:nvPr/>
            </p:nvSpPr>
            <p:spPr>
              <a:xfrm>
                <a:off x="9946952" y="2912940"/>
                <a:ext cx="180000" cy="180000"/>
              </a:xfrm>
              <a:prstGeom prst="ellipse">
                <a:avLst/>
              </a:prstGeom>
              <a:solidFill>
                <a:schemeClr val="tx1">
                  <a:alpha val="39700"/>
                </a:schemeClr>
              </a:solidFill>
              <a:ln>
                <a:solidFill>
                  <a:schemeClr val="bg1">
                    <a:alpha val="4033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39" name="Oval 150">
                <a:extLst>
                  <a:ext uri="{FF2B5EF4-FFF2-40B4-BE49-F238E27FC236}">
                    <a16:creationId xmlns:a16="http://schemas.microsoft.com/office/drawing/2014/main" id="{3CCCDF5F-3B44-A8A4-CEF3-36818FCC41C6}"/>
                  </a:ext>
                </a:extLst>
              </p:cNvPr>
              <p:cNvSpPr>
                <a:spLocks noChangeAspect="1"/>
              </p:cNvSpPr>
              <p:nvPr/>
            </p:nvSpPr>
            <p:spPr>
              <a:xfrm>
                <a:off x="11368648" y="3481930"/>
                <a:ext cx="180000" cy="180000"/>
              </a:xfrm>
              <a:prstGeom prst="ellipse">
                <a:avLst/>
              </a:prstGeom>
              <a:solidFill>
                <a:schemeClr val="tx1">
                  <a:alpha val="39700"/>
                </a:schemeClr>
              </a:solidFill>
              <a:ln>
                <a:solidFill>
                  <a:schemeClr val="bg1">
                    <a:alpha val="4033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40" name="Raute 39">
                <a:extLst>
                  <a:ext uri="{FF2B5EF4-FFF2-40B4-BE49-F238E27FC236}">
                    <a16:creationId xmlns:a16="http://schemas.microsoft.com/office/drawing/2014/main" id="{8590751F-C1E3-BDBF-C8B9-F5EAACA318DC}"/>
                  </a:ext>
                </a:extLst>
              </p:cNvPr>
              <p:cNvSpPr>
                <a:spLocks noChangeAspect="1"/>
              </p:cNvSpPr>
              <p:nvPr/>
            </p:nvSpPr>
            <p:spPr>
              <a:xfrm>
                <a:off x="10252810" y="3198799"/>
                <a:ext cx="180000" cy="180000"/>
              </a:xfrm>
              <a:prstGeom prst="diamond">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50">
                    <a:latin typeface="Trebuchet MS" panose="020B0603020202020204" pitchFamily="34" charset="0"/>
                  </a:rPr>
                  <a:t>+</a:t>
                </a:r>
              </a:p>
            </p:txBody>
          </p:sp>
          <p:sp>
            <p:nvSpPr>
              <p:cNvPr id="41" name="Raute 40">
                <a:extLst>
                  <a:ext uri="{FF2B5EF4-FFF2-40B4-BE49-F238E27FC236}">
                    <a16:creationId xmlns:a16="http://schemas.microsoft.com/office/drawing/2014/main" id="{109E646C-7BA9-8A31-D277-220F5D38EEBC}"/>
                  </a:ext>
                </a:extLst>
              </p:cNvPr>
              <p:cNvSpPr>
                <a:spLocks noChangeAspect="1"/>
              </p:cNvSpPr>
              <p:nvPr/>
            </p:nvSpPr>
            <p:spPr>
              <a:xfrm>
                <a:off x="10533630" y="3481930"/>
                <a:ext cx="180000" cy="180000"/>
              </a:xfrm>
              <a:prstGeom prst="diamond">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latin typeface="Trebuchet MS" panose="020B0603020202020204" pitchFamily="34" charset="0"/>
                  </a:rPr>
                  <a:t>+</a:t>
                </a:r>
              </a:p>
            </p:txBody>
          </p:sp>
          <p:sp>
            <p:nvSpPr>
              <p:cNvPr id="42" name="Raute 41">
                <a:extLst>
                  <a:ext uri="{FF2B5EF4-FFF2-40B4-BE49-F238E27FC236}">
                    <a16:creationId xmlns:a16="http://schemas.microsoft.com/office/drawing/2014/main" id="{0B8519ED-8ABC-8C97-FCB3-7977F47DC0F3}"/>
                  </a:ext>
                </a:extLst>
              </p:cNvPr>
              <p:cNvSpPr>
                <a:spLocks noChangeAspect="1"/>
              </p:cNvSpPr>
              <p:nvPr/>
            </p:nvSpPr>
            <p:spPr>
              <a:xfrm>
                <a:off x="11102308" y="3481930"/>
                <a:ext cx="180000" cy="180000"/>
              </a:xfrm>
              <a:prstGeom prst="diamond">
                <a:avLst/>
              </a:prstGeom>
              <a:solidFill>
                <a:schemeClr val="tx1">
                  <a:alpha val="39700"/>
                </a:schemeClr>
              </a:solidFill>
              <a:ln>
                <a:solidFill>
                  <a:schemeClr val="bg1">
                    <a:alpha val="4033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50">
                    <a:solidFill>
                      <a:schemeClr val="lt1">
                        <a:alpha val="40000"/>
                      </a:schemeClr>
                    </a:solidFill>
                    <a:latin typeface="Trebuchet MS" panose="020B0603020202020204" pitchFamily="34" charset="0"/>
                  </a:rPr>
                  <a:t>+</a:t>
                </a:r>
              </a:p>
            </p:txBody>
          </p:sp>
          <p:cxnSp>
            <p:nvCxnSpPr>
              <p:cNvPr id="43" name="Gerade Verbindung mit Pfeil 42">
                <a:extLst>
                  <a:ext uri="{FF2B5EF4-FFF2-40B4-BE49-F238E27FC236}">
                    <a16:creationId xmlns:a16="http://schemas.microsoft.com/office/drawing/2014/main" id="{E341339A-04CA-8200-8F03-7B8F1F78259F}"/>
                  </a:ext>
                </a:extLst>
              </p:cNvPr>
              <p:cNvCxnSpPr>
                <a:stCxn id="38" idx="4"/>
                <a:endCxn id="33" idx="0"/>
              </p:cNvCxnSpPr>
              <p:nvPr/>
            </p:nvCxnSpPr>
            <p:spPr>
              <a:xfrm>
                <a:off x="10036952" y="3092940"/>
                <a:ext cx="0" cy="107519"/>
              </a:xfrm>
              <a:prstGeom prst="straightConnector1">
                <a:avLst/>
              </a:prstGeom>
              <a:ln>
                <a:solidFill>
                  <a:schemeClr val="bg1">
                    <a:alpha val="4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4" name="Gerade Verbindung mit Pfeil 43">
                <a:extLst>
                  <a:ext uri="{FF2B5EF4-FFF2-40B4-BE49-F238E27FC236}">
                    <a16:creationId xmlns:a16="http://schemas.microsoft.com/office/drawing/2014/main" id="{5693682F-892B-F294-677B-74B161092994}"/>
                  </a:ext>
                </a:extLst>
              </p:cNvPr>
              <p:cNvCxnSpPr>
                <a:cxnSpLocks/>
                <a:stCxn id="33" idx="3"/>
                <a:endCxn id="40" idx="1"/>
              </p:cNvCxnSpPr>
              <p:nvPr/>
            </p:nvCxnSpPr>
            <p:spPr>
              <a:xfrm flipV="1">
                <a:off x="10144952" y="3288799"/>
                <a:ext cx="107858" cy="1660"/>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5" name="Gerade Verbindung mit Pfeil 44">
                <a:extLst>
                  <a:ext uri="{FF2B5EF4-FFF2-40B4-BE49-F238E27FC236}">
                    <a16:creationId xmlns:a16="http://schemas.microsoft.com/office/drawing/2014/main" id="{3742B9BD-448A-CB09-61F9-FEEB0B6FEA9C}"/>
                  </a:ext>
                </a:extLst>
              </p:cNvPr>
              <p:cNvCxnSpPr>
                <a:cxnSpLocks/>
                <a:stCxn id="40" idx="0"/>
                <a:endCxn id="34" idx="2"/>
              </p:cNvCxnSpPr>
              <p:nvPr/>
            </p:nvCxnSpPr>
            <p:spPr>
              <a:xfrm flipH="1" flipV="1">
                <a:off x="10339291" y="3095668"/>
                <a:ext cx="3519" cy="103131"/>
              </a:xfrm>
              <a:prstGeom prst="straightConnector1">
                <a:avLst/>
              </a:prstGeom>
              <a:ln>
                <a:solidFill>
                  <a:schemeClr val="bg1">
                    <a:alpha val="4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6" name="Gerade Verbindung mit Pfeil 45">
                <a:extLst>
                  <a:ext uri="{FF2B5EF4-FFF2-40B4-BE49-F238E27FC236}">
                    <a16:creationId xmlns:a16="http://schemas.microsoft.com/office/drawing/2014/main" id="{9E3A9189-0050-2D14-44A1-38D8FF7EB69F}"/>
                  </a:ext>
                </a:extLst>
              </p:cNvPr>
              <p:cNvCxnSpPr>
                <a:cxnSpLocks/>
                <a:stCxn id="40" idx="2"/>
                <a:endCxn id="35" idx="0"/>
              </p:cNvCxnSpPr>
              <p:nvPr/>
            </p:nvCxnSpPr>
            <p:spPr>
              <a:xfrm flipH="1">
                <a:off x="10339291" y="3378799"/>
                <a:ext cx="3519" cy="103131"/>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7" name="Gerade Verbindung mit Pfeil 46">
                <a:extLst>
                  <a:ext uri="{FF2B5EF4-FFF2-40B4-BE49-F238E27FC236}">
                    <a16:creationId xmlns:a16="http://schemas.microsoft.com/office/drawing/2014/main" id="{703B7955-9C17-90D2-23D7-C0B5179F6D99}"/>
                  </a:ext>
                </a:extLst>
              </p:cNvPr>
              <p:cNvCxnSpPr>
                <a:cxnSpLocks/>
                <a:stCxn id="35" idx="3"/>
                <a:endCxn id="41" idx="1"/>
              </p:cNvCxnSpPr>
              <p:nvPr/>
            </p:nvCxnSpPr>
            <p:spPr>
              <a:xfrm>
                <a:off x="10447291" y="3571930"/>
                <a:ext cx="86339" cy="0"/>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8" name="Gewinkelte Verbindung 159">
                <a:extLst>
                  <a:ext uri="{FF2B5EF4-FFF2-40B4-BE49-F238E27FC236}">
                    <a16:creationId xmlns:a16="http://schemas.microsoft.com/office/drawing/2014/main" id="{DC6B2276-26E6-D15B-9B1B-5E477041D181}"/>
                  </a:ext>
                </a:extLst>
              </p:cNvPr>
              <p:cNvCxnSpPr>
                <a:stCxn id="41" idx="0"/>
                <a:endCxn id="36" idx="1"/>
              </p:cNvCxnSpPr>
              <p:nvPr/>
            </p:nvCxnSpPr>
            <p:spPr>
              <a:xfrm rot="5400000" flipH="1" flipV="1">
                <a:off x="10615234" y="3297196"/>
                <a:ext cx="193131" cy="176339"/>
              </a:xfrm>
              <a:prstGeom prst="bentConnector2">
                <a:avLst/>
              </a:prstGeom>
              <a:ln>
                <a:solidFill>
                  <a:schemeClr val="bg1">
                    <a:alpha val="40147"/>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9" name="Gewinkelte Verbindung 160">
                <a:extLst>
                  <a:ext uri="{FF2B5EF4-FFF2-40B4-BE49-F238E27FC236}">
                    <a16:creationId xmlns:a16="http://schemas.microsoft.com/office/drawing/2014/main" id="{828F403B-DFA9-5AFE-B442-94347DE78CC0}"/>
                  </a:ext>
                </a:extLst>
              </p:cNvPr>
              <p:cNvCxnSpPr>
                <a:cxnSpLocks/>
                <a:stCxn id="41" idx="2"/>
                <a:endCxn id="37" idx="1"/>
              </p:cNvCxnSpPr>
              <p:nvPr/>
            </p:nvCxnSpPr>
            <p:spPr>
              <a:xfrm rot="16200000" flipH="1">
                <a:off x="10615234" y="3670325"/>
                <a:ext cx="193131" cy="176339"/>
              </a:xfrm>
              <a:prstGeom prst="bentConnector2">
                <a:avLst/>
              </a:prstGeom>
              <a:ln>
                <a:solidFill>
                  <a:schemeClr val="bg1">
                    <a:alpha val="4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0" name="Gewinkelte Verbindung 161">
                <a:extLst>
                  <a:ext uri="{FF2B5EF4-FFF2-40B4-BE49-F238E27FC236}">
                    <a16:creationId xmlns:a16="http://schemas.microsoft.com/office/drawing/2014/main" id="{A5B6BABE-8F85-9DE4-DA25-5D025084ABEA}"/>
                  </a:ext>
                </a:extLst>
              </p:cNvPr>
              <p:cNvCxnSpPr>
                <a:cxnSpLocks/>
                <a:stCxn id="37" idx="3"/>
                <a:endCxn id="42" idx="2"/>
              </p:cNvCxnSpPr>
              <p:nvPr/>
            </p:nvCxnSpPr>
            <p:spPr>
              <a:xfrm flipV="1">
                <a:off x="11015969" y="3661930"/>
                <a:ext cx="176339" cy="193131"/>
              </a:xfrm>
              <a:prstGeom prst="bentConnector2">
                <a:avLst/>
              </a:prstGeom>
              <a:ln>
                <a:solidFill>
                  <a:schemeClr val="bg1">
                    <a:alpha val="4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1" name="Gewinkelte Verbindung 162">
                <a:extLst>
                  <a:ext uri="{FF2B5EF4-FFF2-40B4-BE49-F238E27FC236}">
                    <a16:creationId xmlns:a16="http://schemas.microsoft.com/office/drawing/2014/main" id="{2EE24844-F345-2BC3-3D25-1540962981E1}"/>
                  </a:ext>
                </a:extLst>
              </p:cNvPr>
              <p:cNvCxnSpPr>
                <a:cxnSpLocks/>
                <a:stCxn id="36" idx="3"/>
                <a:endCxn id="42" idx="0"/>
              </p:cNvCxnSpPr>
              <p:nvPr/>
            </p:nvCxnSpPr>
            <p:spPr>
              <a:xfrm>
                <a:off x="11015969" y="3288799"/>
                <a:ext cx="176339" cy="193131"/>
              </a:xfrm>
              <a:prstGeom prst="bentConnector2">
                <a:avLst/>
              </a:prstGeom>
              <a:ln>
                <a:solidFill>
                  <a:schemeClr val="bg1">
                    <a:alpha val="4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2" name="Gerade Verbindung mit Pfeil 51">
                <a:extLst>
                  <a:ext uri="{FF2B5EF4-FFF2-40B4-BE49-F238E27FC236}">
                    <a16:creationId xmlns:a16="http://schemas.microsoft.com/office/drawing/2014/main" id="{2FA501DF-F8BC-3306-9B82-CE179DE5BC46}"/>
                  </a:ext>
                </a:extLst>
              </p:cNvPr>
              <p:cNvCxnSpPr>
                <a:cxnSpLocks/>
                <a:stCxn id="42" idx="3"/>
                <a:endCxn id="39" idx="2"/>
              </p:cNvCxnSpPr>
              <p:nvPr/>
            </p:nvCxnSpPr>
            <p:spPr>
              <a:xfrm>
                <a:off x="11282308" y="3571930"/>
                <a:ext cx="86340" cy="0"/>
              </a:xfrm>
              <a:prstGeom prst="straightConnector1">
                <a:avLst/>
              </a:prstGeom>
              <a:ln>
                <a:solidFill>
                  <a:schemeClr val="bg1">
                    <a:alpha val="40000"/>
                  </a:schemeClr>
                </a:solidFill>
                <a:tailEnd type="triangle" w="sm" len="sm"/>
              </a:ln>
            </p:spPr>
            <p:style>
              <a:lnRef idx="1">
                <a:schemeClr val="accent1"/>
              </a:lnRef>
              <a:fillRef idx="0">
                <a:schemeClr val="accent1"/>
              </a:fillRef>
              <a:effectRef idx="0">
                <a:schemeClr val="accent1"/>
              </a:effectRef>
              <a:fontRef idx="minor">
                <a:schemeClr val="tx1"/>
              </a:fontRef>
            </p:style>
          </p:cxnSp>
        </p:grpSp>
        <p:sp useBgFill="1">
          <p:nvSpPr>
            <p:cNvPr id="20" name="Oval 164">
              <a:extLst>
                <a:ext uri="{FF2B5EF4-FFF2-40B4-BE49-F238E27FC236}">
                  <a16:creationId xmlns:a16="http://schemas.microsoft.com/office/drawing/2014/main" id="{B7BDC47A-E86A-6121-3AA4-778B96AC4397}"/>
                </a:ext>
              </a:extLst>
            </p:cNvPr>
            <p:cNvSpPr/>
            <p:nvPr/>
          </p:nvSpPr>
          <p:spPr>
            <a:xfrm>
              <a:off x="9934550" y="1831648"/>
              <a:ext cx="515128" cy="515127"/>
            </a:xfrm>
            <a:prstGeom prst="ellipse">
              <a:avLst/>
            </a:prstGeom>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21" name="Rechteck: abgerundete Ecken 22">
              <a:extLst>
                <a:ext uri="{FF2B5EF4-FFF2-40B4-BE49-F238E27FC236}">
                  <a16:creationId xmlns:a16="http://schemas.microsoft.com/office/drawing/2014/main" id="{DC22C0CE-B859-2F6A-BA57-74E74F480A04}"/>
                </a:ext>
              </a:extLst>
            </p:cNvPr>
            <p:cNvSpPr>
              <a:spLocks noChangeAspect="1"/>
            </p:cNvSpPr>
            <p:nvPr/>
          </p:nvSpPr>
          <p:spPr bwMode="auto">
            <a:xfrm>
              <a:off x="9762006" y="1370831"/>
              <a:ext cx="1287819" cy="1287819"/>
            </a:xfrm>
            <a:prstGeom prst="roundRect">
              <a:avLst/>
            </a:prstGeom>
            <a:solidFill>
              <a:schemeClr val="tx1">
                <a:alpha val="40000"/>
              </a:schemeClr>
            </a:solidFill>
            <a:ln w="31750" cap="flat" cmpd="sng" algn="ctr">
              <a:solidFill>
                <a:srgbClr val="038A5E"/>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01713"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dirty="0">
                <a:ln>
                  <a:noFill/>
                </a:ln>
                <a:solidFill>
                  <a:schemeClr val="tx1"/>
                </a:solidFill>
                <a:effectLst/>
                <a:latin typeface="Trebuchet MS" panose="020B0603020202020204" pitchFamily="34" charset="0"/>
              </a:endParaRPr>
            </a:p>
          </p:txBody>
        </p:sp>
        <p:sp>
          <p:nvSpPr>
            <p:cNvPr id="22" name="Abgerundetes Rechteck 168">
              <a:extLst>
                <a:ext uri="{FF2B5EF4-FFF2-40B4-BE49-F238E27FC236}">
                  <a16:creationId xmlns:a16="http://schemas.microsoft.com/office/drawing/2014/main" id="{1D50E987-7F8F-FADF-73A0-6C309E2B6768}"/>
                </a:ext>
              </a:extLst>
            </p:cNvPr>
            <p:cNvSpPr>
              <a:spLocks noChangeAspect="1"/>
            </p:cNvSpPr>
            <p:nvPr/>
          </p:nvSpPr>
          <p:spPr>
            <a:xfrm>
              <a:off x="10001516" y="2089212"/>
              <a:ext cx="247261" cy="206051"/>
            </a:xfrm>
            <a:prstGeom prst="round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23" name="Raute 22">
              <a:extLst>
                <a:ext uri="{FF2B5EF4-FFF2-40B4-BE49-F238E27FC236}">
                  <a16:creationId xmlns:a16="http://schemas.microsoft.com/office/drawing/2014/main" id="{467A682B-0CDA-9031-4778-BBBDBC8F5162}"/>
                </a:ext>
              </a:extLst>
            </p:cNvPr>
            <p:cNvSpPr>
              <a:spLocks noChangeAspect="1"/>
            </p:cNvSpPr>
            <p:nvPr/>
          </p:nvSpPr>
          <p:spPr>
            <a:xfrm>
              <a:off x="10035000" y="1825475"/>
              <a:ext cx="180295" cy="180294"/>
            </a:xfrm>
            <a:prstGeom prst="diamond">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atin typeface="Trebuchet MS" panose="020B0603020202020204" pitchFamily="34" charset="0"/>
                </a:rPr>
                <a:t>+</a:t>
              </a:r>
            </a:p>
          </p:txBody>
        </p:sp>
        <p:sp>
          <p:nvSpPr>
            <p:cNvPr id="24" name="Raute 23">
              <a:extLst>
                <a:ext uri="{FF2B5EF4-FFF2-40B4-BE49-F238E27FC236}">
                  <a16:creationId xmlns:a16="http://schemas.microsoft.com/office/drawing/2014/main" id="{E48984D6-D3DF-EE8B-7500-FED32549ABED}"/>
                </a:ext>
              </a:extLst>
            </p:cNvPr>
            <p:cNvSpPr>
              <a:spLocks noChangeAspect="1"/>
            </p:cNvSpPr>
            <p:nvPr/>
          </p:nvSpPr>
          <p:spPr>
            <a:xfrm>
              <a:off x="10326048" y="2101261"/>
              <a:ext cx="180295" cy="180294"/>
            </a:xfrm>
            <a:prstGeom prst="diamond">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atin typeface="Trebuchet MS" panose="020B0603020202020204" pitchFamily="34" charset="0"/>
                </a:rPr>
                <a:t>+</a:t>
              </a:r>
            </a:p>
          </p:txBody>
        </p:sp>
        <p:cxnSp>
          <p:nvCxnSpPr>
            <p:cNvPr id="25" name="Gerade Verbindung mit Pfeil 24">
              <a:extLst>
                <a:ext uri="{FF2B5EF4-FFF2-40B4-BE49-F238E27FC236}">
                  <a16:creationId xmlns:a16="http://schemas.microsoft.com/office/drawing/2014/main" id="{41BDE075-C680-D528-C153-B9490BEB70B0}"/>
                </a:ext>
              </a:extLst>
            </p:cNvPr>
            <p:cNvCxnSpPr>
              <a:cxnSpLocks/>
              <a:stCxn id="23" idx="2"/>
              <a:endCxn id="22" idx="0"/>
            </p:cNvCxnSpPr>
            <p:nvPr/>
          </p:nvCxnSpPr>
          <p:spPr>
            <a:xfrm>
              <a:off x="10125147" y="2005769"/>
              <a:ext cx="0" cy="83443"/>
            </a:xfrm>
            <a:prstGeom prst="straightConnector1">
              <a:avLst/>
            </a:prstGeom>
            <a:ln w="127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BBD7C354-07A6-DA73-7792-05AC029555CB}"/>
                </a:ext>
              </a:extLst>
            </p:cNvPr>
            <p:cNvCxnSpPr>
              <a:cxnSpLocks/>
              <a:stCxn id="22" idx="3"/>
              <a:endCxn id="24" idx="1"/>
            </p:cNvCxnSpPr>
            <p:nvPr/>
          </p:nvCxnSpPr>
          <p:spPr>
            <a:xfrm flipV="1">
              <a:off x="10248778" y="2191409"/>
              <a:ext cx="77268" cy="830"/>
            </a:xfrm>
            <a:prstGeom prst="straightConnector1">
              <a:avLst/>
            </a:prstGeom>
            <a:ln w="127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7" name="Gerade Verbindung 188">
              <a:extLst>
                <a:ext uri="{FF2B5EF4-FFF2-40B4-BE49-F238E27FC236}">
                  <a16:creationId xmlns:a16="http://schemas.microsoft.com/office/drawing/2014/main" id="{CC95452C-32A4-E62F-6C25-BA8F922CDA84}"/>
                </a:ext>
              </a:extLst>
            </p:cNvPr>
            <p:cNvCxnSpPr>
              <a:cxnSpLocks/>
              <a:stCxn id="24" idx="0"/>
            </p:cNvCxnSpPr>
            <p:nvPr/>
          </p:nvCxnSpPr>
          <p:spPr>
            <a:xfrm flipV="1">
              <a:off x="10416195" y="1983522"/>
              <a:ext cx="0" cy="1177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echteck 27">
              <a:extLst>
                <a:ext uri="{FF2B5EF4-FFF2-40B4-BE49-F238E27FC236}">
                  <a16:creationId xmlns:a16="http://schemas.microsoft.com/office/drawing/2014/main" id="{86957728-8694-62CD-8973-2200C3E8313D}"/>
                </a:ext>
              </a:extLst>
            </p:cNvPr>
            <p:cNvSpPr/>
            <p:nvPr/>
          </p:nvSpPr>
          <p:spPr>
            <a:xfrm rot="18842729">
              <a:off x="10340709" y="2184963"/>
              <a:ext cx="210359" cy="77168"/>
            </a:xfrm>
            <a:prstGeom prst="rect">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29" name="Oval 190">
              <a:extLst>
                <a:ext uri="{FF2B5EF4-FFF2-40B4-BE49-F238E27FC236}">
                  <a16:creationId xmlns:a16="http://schemas.microsoft.com/office/drawing/2014/main" id="{7DD228F7-E62A-E7C5-C095-A87159D4E1FE}"/>
                </a:ext>
              </a:extLst>
            </p:cNvPr>
            <p:cNvSpPr/>
            <p:nvPr/>
          </p:nvSpPr>
          <p:spPr>
            <a:xfrm>
              <a:off x="9934552" y="1831647"/>
              <a:ext cx="515128" cy="515127"/>
            </a:xfrm>
            <a:prstGeom prst="ellipse">
              <a:avLst/>
            </a:prstGeom>
            <a:no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cxnSp>
          <p:nvCxnSpPr>
            <p:cNvPr id="30" name="Gerade Verbindung 195">
              <a:extLst>
                <a:ext uri="{FF2B5EF4-FFF2-40B4-BE49-F238E27FC236}">
                  <a16:creationId xmlns:a16="http://schemas.microsoft.com/office/drawing/2014/main" id="{523D2846-CC69-D9DC-F47A-A1E41DD2F5EB}"/>
                </a:ext>
              </a:extLst>
            </p:cNvPr>
            <p:cNvCxnSpPr>
              <a:cxnSpLocks/>
              <a:stCxn id="29" idx="5"/>
            </p:cNvCxnSpPr>
            <p:nvPr/>
          </p:nvCxnSpPr>
          <p:spPr>
            <a:xfrm>
              <a:off x="10374236" y="2271337"/>
              <a:ext cx="356140" cy="27800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Gerade Verbindung 197">
              <a:extLst>
                <a:ext uri="{FF2B5EF4-FFF2-40B4-BE49-F238E27FC236}">
                  <a16:creationId xmlns:a16="http://schemas.microsoft.com/office/drawing/2014/main" id="{62545C2C-FD2E-2128-BB79-5E61122F3FFC}"/>
                </a:ext>
              </a:extLst>
            </p:cNvPr>
            <p:cNvCxnSpPr>
              <a:cxnSpLocks/>
              <a:stCxn id="29" idx="5"/>
            </p:cNvCxnSpPr>
            <p:nvPr/>
          </p:nvCxnSpPr>
          <p:spPr>
            <a:xfrm>
              <a:off x="10374241" y="2271335"/>
              <a:ext cx="356134" cy="277499"/>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3" name="Rechteck: abgerundete Ecken 12">
            <a:extLst>
              <a:ext uri="{FF2B5EF4-FFF2-40B4-BE49-F238E27FC236}">
                <a16:creationId xmlns:a16="http://schemas.microsoft.com/office/drawing/2014/main" id="{BEC468E7-FA87-69B9-AD27-968744615CAB}"/>
              </a:ext>
            </a:extLst>
          </p:cNvPr>
          <p:cNvSpPr>
            <a:spLocks noChangeAspect="1"/>
          </p:cNvSpPr>
          <p:nvPr/>
        </p:nvSpPr>
        <p:spPr bwMode="auto">
          <a:xfrm>
            <a:off x="7613675" y="1362122"/>
            <a:ext cx="1287819" cy="1287819"/>
          </a:xfrm>
          <a:prstGeom prst="roundRect">
            <a:avLst/>
          </a:prstGeom>
          <a:solidFill>
            <a:schemeClr val="tx1">
              <a:alpha val="40000"/>
            </a:schemeClr>
          </a:solidFill>
          <a:ln w="31750" cap="flat" cmpd="sng" algn="ctr">
            <a:solidFill>
              <a:srgbClr val="038A5E"/>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01713"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chemeClr val="tx1"/>
              </a:solidFill>
              <a:effectLst/>
              <a:latin typeface="Trebuchet MS" panose="020B0603020202020204" pitchFamily="34" charset="0"/>
            </a:endParaRPr>
          </a:p>
        </p:txBody>
      </p:sp>
      <p:grpSp>
        <p:nvGrpSpPr>
          <p:cNvPr id="54" name="Gruppieren 53">
            <a:extLst>
              <a:ext uri="{FF2B5EF4-FFF2-40B4-BE49-F238E27FC236}">
                <a16:creationId xmlns:a16="http://schemas.microsoft.com/office/drawing/2014/main" id="{259F59B0-4096-6F10-547A-B492CA8D6B2E}"/>
              </a:ext>
            </a:extLst>
          </p:cNvPr>
          <p:cNvGrpSpPr/>
          <p:nvPr/>
        </p:nvGrpSpPr>
        <p:grpSpPr>
          <a:xfrm>
            <a:off x="7672469" y="1636814"/>
            <a:ext cx="1158820" cy="738436"/>
            <a:chOff x="7598976" y="2912720"/>
            <a:chExt cx="1619696" cy="1032121"/>
          </a:xfrm>
        </p:grpSpPr>
        <p:sp>
          <p:nvSpPr>
            <p:cNvPr id="55" name="Abgerundetes Rechteck 100">
              <a:extLst>
                <a:ext uri="{FF2B5EF4-FFF2-40B4-BE49-F238E27FC236}">
                  <a16:creationId xmlns:a16="http://schemas.microsoft.com/office/drawing/2014/main" id="{558B8AA0-F26C-214C-B858-863B02792959}"/>
                </a:ext>
              </a:extLst>
            </p:cNvPr>
            <p:cNvSpPr/>
            <p:nvPr/>
          </p:nvSpPr>
          <p:spPr>
            <a:xfrm>
              <a:off x="7598976" y="3200239"/>
              <a:ext cx="216000" cy="180000"/>
            </a:xfrm>
            <a:prstGeom prst="round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56" name="Abgerundetes Rechteck 101">
              <a:extLst>
                <a:ext uri="{FF2B5EF4-FFF2-40B4-BE49-F238E27FC236}">
                  <a16:creationId xmlns:a16="http://schemas.microsoft.com/office/drawing/2014/main" id="{05977F1C-D452-55D8-7837-3DCEAA2355A1}"/>
                </a:ext>
              </a:extLst>
            </p:cNvPr>
            <p:cNvSpPr/>
            <p:nvPr/>
          </p:nvSpPr>
          <p:spPr>
            <a:xfrm>
              <a:off x="7901315" y="2915448"/>
              <a:ext cx="216000" cy="180000"/>
            </a:xfrm>
            <a:prstGeom prst="round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57" name="Abgerundetes Rechteck 102">
              <a:extLst>
                <a:ext uri="{FF2B5EF4-FFF2-40B4-BE49-F238E27FC236}">
                  <a16:creationId xmlns:a16="http://schemas.microsoft.com/office/drawing/2014/main" id="{881B2340-B6F9-FD07-0DE6-EAA1C35D800A}"/>
                </a:ext>
              </a:extLst>
            </p:cNvPr>
            <p:cNvSpPr/>
            <p:nvPr/>
          </p:nvSpPr>
          <p:spPr>
            <a:xfrm>
              <a:off x="7901315" y="3481710"/>
              <a:ext cx="216000" cy="180000"/>
            </a:xfrm>
            <a:prstGeom prst="round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58" name="Abgerundetes Rechteck 103">
              <a:extLst>
                <a:ext uri="{FF2B5EF4-FFF2-40B4-BE49-F238E27FC236}">
                  <a16:creationId xmlns:a16="http://schemas.microsoft.com/office/drawing/2014/main" id="{909C9399-3FCE-C33D-873E-12C84011F368}"/>
                </a:ext>
              </a:extLst>
            </p:cNvPr>
            <p:cNvSpPr/>
            <p:nvPr/>
          </p:nvSpPr>
          <p:spPr>
            <a:xfrm>
              <a:off x="8469993" y="3198579"/>
              <a:ext cx="216000" cy="180000"/>
            </a:xfrm>
            <a:prstGeom prst="round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59" name="Abgerundetes Rechteck 104">
              <a:extLst>
                <a:ext uri="{FF2B5EF4-FFF2-40B4-BE49-F238E27FC236}">
                  <a16:creationId xmlns:a16="http://schemas.microsoft.com/office/drawing/2014/main" id="{D765A4C0-FC00-8718-6151-E40A9F359979}"/>
                </a:ext>
              </a:extLst>
            </p:cNvPr>
            <p:cNvSpPr/>
            <p:nvPr/>
          </p:nvSpPr>
          <p:spPr>
            <a:xfrm>
              <a:off x="8469993" y="3764841"/>
              <a:ext cx="216000" cy="180000"/>
            </a:xfrm>
            <a:prstGeom prst="round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60" name="Oval 105">
              <a:extLst>
                <a:ext uri="{FF2B5EF4-FFF2-40B4-BE49-F238E27FC236}">
                  <a16:creationId xmlns:a16="http://schemas.microsoft.com/office/drawing/2014/main" id="{7D3C6A75-46BC-EBD1-E566-BD5287208F66}"/>
                </a:ext>
              </a:extLst>
            </p:cNvPr>
            <p:cNvSpPr>
              <a:spLocks noChangeAspect="1"/>
            </p:cNvSpPr>
            <p:nvPr/>
          </p:nvSpPr>
          <p:spPr>
            <a:xfrm>
              <a:off x="7616976" y="2912720"/>
              <a:ext cx="180000" cy="18000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61" name="Oval 106">
              <a:extLst>
                <a:ext uri="{FF2B5EF4-FFF2-40B4-BE49-F238E27FC236}">
                  <a16:creationId xmlns:a16="http://schemas.microsoft.com/office/drawing/2014/main" id="{A6789C3E-56D5-0BA3-EE32-135909C8DE89}"/>
                </a:ext>
              </a:extLst>
            </p:cNvPr>
            <p:cNvSpPr>
              <a:spLocks noChangeAspect="1"/>
            </p:cNvSpPr>
            <p:nvPr/>
          </p:nvSpPr>
          <p:spPr>
            <a:xfrm>
              <a:off x="9038672" y="3481710"/>
              <a:ext cx="180000" cy="18000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Trebuchet MS" panose="020B0603020202020204" pitchFamily="34" charset="0"/>
              </a:endParaRPr>
            </a:p>
          </p:txBody>
        </p:sp>
        <p:sp>
          <p:nvSpPr>
            <p:cNvPr id="62" name="Raute 61">
              <a:extLst>
                <a:ext uri="{FF2B5EF4-FFF2-40B4-BE49-F238E27FC236}">
                  <a16:creationId xmlns:a16="http://schemas.microsoft.com/office/drawing/2014/main" id="{6BF0793A-2E85-DC9B-4FE3-F4E10802991F}"/>
                </a:ext>
              </a:extLst>
            </p:cNvPr>
            <p:cNvSpPr>
              <a:spLocks noChangeAspect="1"/>
            </p:cNvSpPr>
            <p:nvPr/>
          </p:nvSpPr>
          <p:spPr>
            <a:xfrm>
              <a:off x="7922834" y="3198579"/>
              <a:ext cx="180000" cy="180000"/>
            </a:xfrm>
            <a:prstGeom prst="diamond">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50">
                  <a:latin typeface="Trebuchet MS" panose="020B0603020202020204" pitchFamily="34" charset="0"/>
                </a:rPr>
                <a:t>+</a:t>
              </a:r>
            </a:p>
          </p:txBody>
        </p:sp>
        <p:sp>
          <p:nvSpPr>
            <p:cNvPr id="63" name="Raute 62">
              <a:extLst>
                <a:ext uri="{FF2B5EF4-FFF2-40B4-BE49-F238E27FC236}">
                  <a16:creationId xmlns:a16="http://schemas.microsoft.com/office/drawing/2014/main" id="{C5ED4024-66AB-7998-4551-A578E709E78E}"/>
                </a:ext>
              </a:extLst>
            </p:cNvPr>
            <p:cNvSpPr>
              <a:spLocks noChangeAspect="1"/>
            </p:cNvSpPr>
            <p:nvPr/>
          </p:nvSpPr>
          <p:spPr>
            <a:xfrm>
              <a:off x="8203654" y="3481710"/>
              <a:ext cx="180000" cy="180000"/>
            </a:xfrm>
            <a:prstGeom prst="diamond">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latin typeface="Trebuchet MS" panose="020B0603020202020204" pitchFamily="34" charset="0"/>
                </a:rPr>
                <a:t>+</a:t>
              </a:r>
            </a:p>
          </p:txBody>
        </p:sp>
        <p:sp>
          <p:nvSpPr>
            <p:cNvPr id="64" name="Raute 63">
              <a:extLst>
                <a:ext uri="{FF2B5EF4-FFF2-40B4-BE49-F238E27FC236}">
                  <a16:creationId xmlns:a16="http://schemas.microsoft.com/office/drawing/2014/main" id="{413719A5-0CF9-E251-EBD6-C38444C561D6}"/>
                </a:ext>
              </a:extLst>
            </p:cNvPr>
            <p:cNvSpPr>
              <a:spLocks noChangeAspect="1"/>
            </p:cNvSpPr>
            <p:nvPr/>
          </p:nvSpPr>
          <p:spPr>
            <a:xfrm>
              <a:off x="8772332" y="3481710"/>
              <a:ext cx="180000" cy="180000"/>
            </a:xfrm>
            <a:prstGeom prst="diamond">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50">
                  <a:latin typeface="Trebuchet MS" panose="020B0603020202020204" pitchFamily="34" charset="0"/>
                </a:rPr>
                <a:t>+</a:t>
              </a:r>
            </a:p>
          </p:txBody>
        </p:sp>
        <p:cxnSp>
          <p:nvCxnSpPr>
            <p:cNvPr id="65" name="Gerade Verbindung mit Pfeil 64">
              <a:extLst>
                <a:ext uri="{FF2B5EF4-FFF2-40B4-BE49-F238E27FC236}">
                  <a16:creationId xmlns:a16="http://schemas.microsoft.com/office/drawing/2014/main" id="{BF3D2027-E535-B8D5-6E65-381EFF9EAD24}"/>
                </a:ext>
              </a:extLst>
            </p:cNvPr>
            <p:cNvCxnSpPr>
              <a:stCxn id="60" idx="4"/>
              <a:endCxn id="55" idx="0"/>
            </p:cNvCxnSpPr>
            <p:nvPr/>
          </p:nvCxnSpPr>
          <p:spPr>
            <a:xfrm>
              <a:off x="7706976" y="3092720"/>
              <a:ext cx="0" cy="107519"/>
            </a:xfrm>
            <a:prstGeom prst="straightConnector1">
              <a:avLst/>
            </a:prstGeom>
            <a:ln w="9525">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6" name="Gerade Verbindung mit Pfeil 65">
              <a:extLst>
                <a:ext uri="{FF2B5EF4-FFF2-40B4-BE49-F238E27FC236}">
                  <a16:creationId xmlns:a16="http://schemas.microsoft.com/office/drawing/2014/main" id="{6027837A-E6BE-5AC6-7A0B-8B1848FEC4C8}"/>
                </a:ext>
              </a:extLst>
            </p:cNvPr>
            <p:cNvCxnSpPr>
              <a:cxnSpLocks/>
              <a:stCxn id="55" idx="3"/>
              <a:endCxn id="62" idx="1"/>
            </p:cNvCxnSpPr>
            <p:nvPr/>
          </p:nvCxnSpPr>
          <p:spPr>
            <a:xfrm flipV="1">
              <a:off x="7814976" y="3288579"/>
              <a:ext cx="107858" cy="1660"/>
            </a:xfrm>
            <a:prstGeom prst="straightConnector1">
              <a:avLst/>
            </a:prstGeom>
            <a:ln w="9525">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7" name="Gerade Verbindung mit Pfeil 66">
              <a:extLst>
                <a:ext uri="{FF2B5EF4-FFF2-40B4-BE49-F238E27FC236}">
                  <a16:creationId xmlns:a16="http://schemas.microsoft.com/office/drawing/2014/main" id="{3270481D-1255-B09C-0789-775015542D0B}"/>
                </a:ext>
              </a:extLst>
            </p:cNvPr>
            <p:cNvCxnSpPr>
              <a:cxnSpLocks/>
              <a:stCxn id="62" idx="0"/>
              <a:endCxn id="56" idx="2"/>
            </p:cNvCxnSpPr>
            <p:nvPr/>
          </p:nvCxnSpPr>
          <p:spPr>
            <a:xfrm flipH="1" flipV="1">
              <a:off x="8009315" y="3095448"/>
              <a:ext cx="3519" cy="103131"/>
            </a:xfrm>
            <a:prstGeom prst="straightConnector1">
              <a:avLst/>
            </a:prstGeom>
            <a:ln w="9525">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8" name="Gerade Verbindung mit Pfeil 67">
              <a:extLst>
                <a:ext uri="{FF2B5EF4-FFF2-40B4-BE49-F238E27FC236}">
                  <a16:creationId xmlns:a16="http://schemas.microsoft.com/office/drawing/2014/main" id="{B21900B7-88A8-A0C7-0B7D-FBD3739BACF2}"/>
                </a:ext>
              </a:extLst>
            </p:cNvPr>
            <p:cNvCxnSpPr>
              <a:cxnSpLocks/>
              <a:stCxn id="62" idx="2"/>
              <a:endCxn id="57" idx="0"/>
            </p:cNvCxnSpPr>
            <p:nvPr/>
          </p:nvCxnSpPr>
          <p:spPr>
            <a:xfrm flipH="1">
              <a:off x="8009315" y="3378579"/>
              <a:ext cx="3519" cy="103131"/>
            </a:xfrm>
            <a:prstGeom prst="straightConnector1">
              <a:avLst/>
            </a:prstGeom>
            <a:ln w="9525">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E38ED03D-A54D-41E2-E101-AF65C4DBA0E8}"/>
                </a:ext>
              </a:extLst>
            </p:cNvPr>
            <p:cNvCxnSpPr>
              <a:cxnSpLocks/>
              <a:stCxn id="57" idx="3"/>
              <a:endCxn id="63" idx="1"/>
            </p:cNvCxnSpPr>
            <p:nvPr/>
          </p:nvCxnSpPr>
          <p:spPr>
            <a:xfrm>
              <a:off x="8117315" y="3571710"/>
              <a:ext cx="86339" cy="0"/>
            </a:xfrm>
            <a:prstGeom prst="straightConnector1">
              <a:avLst/>
            </a:prstGeom>
            <a:ln w="9525">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0" name="Gewinkelte Verbindung 129">
              <a:extLst>
                <a:ext uri="{FF2B5EF4-FFF2-40B4-BE49-F238E27FC236}">
                  <a16:creationId xmlns:a16="http://schemas.microsoft.com/office/drawing/2014/main" id="{F9255AD1-52FB-A46B-4405-5D6CD443083F}"/>
                </a:ext>
              </a:extLst>
            </p:cNvPr>
            <p:cNvCxnSpPr>
              <a:stCxn id="63" idx="0"/>
              <a:endCxn id="58" idx="1"/>
            </p:cNvCxnSpPr>
            <p:nvPr/>
          </p:nvCxnSpPr>
          <p:spPr>
            <a:xfrm rot="5400000" flipH="1" flipV="1">
              <a:off x="8285258" y="3296976"/>
              <a:ext cx="193131" cy="176339"/>
            </a:xfrm>
            <a:prstGeom prst="bentConnector2">
              <a:avLst/>
            </a:prstGeom>
            <a:ln w="9525">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1" name="Gewinkelte Verbindung 130">
              <a:extLst>
                <a:ext uri="{FF2B5EF4-FFF2-40B4-BE49-F238E27FC236}">
                  <a16:creationId xmlns:a16="http://schemas.microsoft.com/office/drawing/2014/main" id="{6C4F0448-6F83-5519-FC63-65ACDACD734E}"/>
                </a:ext>
              </a:extLst>
            </p:cNvPr>
            <p:cNvCxnSpPr>
              <a:cxnSpLocks/>
              <a:stCxn id="63" idx="2"/>
              <a:endCxn id="59" idx="1"/>
            </p:cNvCxnSpPr>
            <p:nvPr/>
          </p:nvCxnSpPr>
          <p:spPr>
            <a:xfrm rot="16200000" flipH="1">
              <a:off x="8285258" y="3670105"/>
              <a:ext cx="193131" cy="176339"/>
            </a:xfrm>
            <a:prstGeom prst="bentConnector2">
              <a:avLst/>
            </a:prstGeom>
            <a:ln w="9525">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2" name="Gewinkelte Verbindung 133">
              <a:extLst>
                <a:ext uri="{FF2B5EF4-FFF2-40B4-BE49-F238E27FC236}">
                  <a16:creationId xmlns:a16="http://schemas.microsoft.com/office/drawing/2014/main" id="{EF7EAA51-7A89-9D30-D38F-FB880B362F14}"/>
                </a:ext>
              </a:extLst>
            </p:cNvPr>
            <p:cNvCxnSpPr>
              <a:cxnSpLocks/>
              <a:stCxn id="59" idx="3"/>
              <a:endCxn id="64" idx="2"/>
            </p:cNvCxnSpPr>
            <p:nvPr/>
          </p:nvCxnSpPr>
          <p:spPr>
            <a:xfrm flipV="1">
              <a:off x="8685993" y="3661710"/>
              <a:ext cx="176339" cy="193131"/>
            </a:xfrm>
            <a:prstGeom prst="bentConnector2">
              <a:avLst/>
            </a:prstGeom>
            <a:ln w="9525">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3" name="Gewinkelte Verbindung 136">
              <a:extLst>
                <a:ext uri="{FF2B5EF4-FFF2-40B4-BE49-F238E27FC236}">
                  <a16:creationId xmlns:a16="http://schemas.microsoft.com/office/drawing/2014/main" id="{D9AECBBE-6F9F-58A0-770B-886AFB921B7E}"/>
                </a:ext>
              </a:extLst>
            </p:cNvPr>
            <p:cNvCxnSpPr>
              <a:cxnSpLocks/>
              <a:stCxn id="58" idx="3"/>
              <a:endCxn id="64" idx="0"/>
            </p:cNvCxnSpPr>
            <p:nvPr/>
          </p:nvCxnSpPr>
          <p:spPr>
            <a:xfrm>
              <a:off x="8685993" y="3288579"/>
              <a:ext cx="176339" cy="193131"/>
            </a:xfrm>
            <a:prstGeom prst="bentConnector2">
              <a:avLst/>
            </a:prstGeom>
            <a:ln w="9525">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4" name="Gerade Verbindung mit Pfeil 73">
              <a:extLst>
                <a:ext uri="{FF2B5EF4-FFF2-40B4-BE49-F238E27FC236}">
                  <a16:creationId xmlns:a16="http://schemas.microsoft.com/office/drawing/2014/main" id="{979E92F1-4961-5473-201D-F3D567003D0D}"/>
                </a:ext>
              </a:extLst>
            </p:cNvPr>
            <p:cNvCxnSpPr>
              <a:cxnSpLocks/>
              <a:stCxn id="64" idx="3"/>
              <a:endCxn id="61" idx="2"/>
            </p:cNvCxnSpPr>
            <p:nvPr/>
          </p:nvCxnSpPr>
          <p:spPr>
            <a:xfrm>
              <a:off x="8952332" y="3571710"/>
              <a:ext cx="86340" cy="0"/>
            </a:xfrm>
            <a:prstGeom prst="straightConnector1">
              <a:avLst/>
            </a:prstGeom>
            <a:ln w="9525">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75" name="Textfeld 74">
            <a:extLst>
              <a:ext uri="{FF2B5EF4-FFF2-40B4-BE49-F238E27FC236}">
                <a16:creationId xmlns:a16="http://schemas.microsoft.com/office/drawing/2014/main" id="{97368288-8895-A87D-4F9F-8894AFE679DE}"/>
              </a:ext>
            </a:extLst>
          </p:cNvPr>
          <p:cNvSpPr txBox="1"/>
          <p:nvPr/>
        </p:nvSpPr>
        <p:spPr>
          <a:xfrm>
            <a:off x="4840941" y="2439512"/>
            <a:ext cx="45719" cy="1057835"/>
          </a:xfrm>
          <a:prstGeom prst="rect">
            <a:avLst/>
          </a:prstGeom>
          <a:effectLst/>
        </p:spPr>
        <p:txBody>
          <a:bodyPr vert="horz" wrap="square" lIns="0" tIns="0" rIns="0" bIns="0" rtlCol="0">
            <a:noAutofit/>
          </a:bodyPr>
          <a:lstStyle/>
          <a:p>
            <a:pPr marL="285750" indent="-285750" algn="l">
              <a:buFont typeface="Wingdings" panose="05000000000000000000" pitchFamily="2" charset="2"/>
              <a:buChar char="§"/>
            </a:pPr>
            <a:endParaRPr lang="de-DE" sz="1400" err="1">
              <a:solidFill>
                <a:schemeClr val="accent3">
                  <a:lumMod val="75000"/>
                </a:schemeClr>
              </a:solidFill>
            </a:endParaRPr>
          </a:p>
        </p:txBody>
      </p:sp>
      <p:pic>
        <p:nvPicPr>
          <p:cNvPr id="76" name="Grafik 75" descr="Ein Bild, das Licht enthält.&#10;&#10;Automatisch generierte Beschreibung">
            <a:extLst>
              <a:ext uri="{FF2B5EF4-FFF2-40B4-BE49-F238E27FC236}">
                <a16:creationId xmlns:a16="http://schemas.microsoft.com/office/drawing/2014/main" id="{5FA032A3-0D0A-D0F8-2C65-9A2C1FBF5F7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7858" b="7858"/>
          <a:stretch/>
        </p:blipFill>
        <p:spPr>
          <a:xfrm>
            <a:off x="7990970" y="3802374"/>
            <a:ext cx="2458708" cy="1383023"/>
          </a:xfrm>
          <a:prstGeom prst="roundRect">
            <a:avLst/>
          </a:prstGeom>
          <a:effectLst/>
        </p:spPr>
      </p:pic>
      <p:sp>
        <p:nvSpPr>
          <p:cNvPr id="77" name="Textfeld 76">
            <a:extLst>
              <a:ext uri="{FF2B5EF4-FFF2-40B4-BE49-F238E27FC236}">
                <a16:creationId xmlns:a16="http://schemas.microsoft.com/office/drawing/2014/main" id="{260F82C9-1FB0-66DF-9EB9-81E5BC8EC10F}"/>
              </a:ext>
            </a:extLst>
          </p:cNvPr>
          <p:cNvSpPr txBox="1"/>
          <p:nvPr/>
        </p:nvSpPr>
        <p:spPr>
          <a:xfrm>
            <a:off x="8016563" y="4062998"/>
            <a:ext cx="2297104" cy="861774"/>
          </a:xfrm>
          <a:prstGeom prst="rect">
            <a:avLst/>
          </a:prstGeom>
          <a:effectLst/>
        </p:spPr>
        <p:txBody>
          <a:bodyPr vert="horz" wrap="none" lIns="0" tIns="0" rIns="0" bIns="0" rtlCol="0" anchor="ctr">
            <a:spAutoFit/>
          </a:bodyPr>
          <a:lstStyle/>
          <a:p>
            <a:pPr algn="ctr"/>
            <a:r>
              <a:rPr lang="de-DE" sz="2800" dirty="0" err="1">
                <a:solidFill>
                  <a:schemeClr val="bg1"/>
                </a:solidFill>
              </a:rPr>
              <a:t>Machine</a:t>
            </a:r>
            <a:r>
              <a:rPr lang="de-DE" sz="2800" dirty="0">
                <a:solidFill>
                  <a:schemeClr val="bg1"/>
                </a:solidFill>
              </a:rPr>
              <a:t>- und</a:t>
            </a:r>
            <a:endParaRPr lang="de-DE" dirty="0">
              <a:solidFill>
                <a:schemeClr val="bg1"/>
              </a:solidFill>
            </a:endParaRPr>
          </a:p>
          <a:p>
            <a:pPr algn="ctr"/>
            <a:r>
              <a:rPr lang="de-DE" sz="2800" dirty="0">
                <a:solidFill>
                  <a:schemeClr val="bg1"/>
                </a:solidFill>
              </a:rPr>
              <a:t>Deep Learning</a:t>
            </a:r>
          </a:p>
        </p:txBody>
      </p:sp>
      <p:pic>
        <p:nvPicPr>
          <p:cNvPr id="78" name="Inhaltsplatzhalter 4" descr="Colourful charts and graphs">
            <a:extLst>
              <a:ext uri="{FF2B5EF4-FFF2-40B4-BE49-F238E27FC236}">
                <a16:creationId xmlns:a16="http://schemas.microsoft.com/office/drawing/2014/main" id="{CEB32BE6-68A9-453C-AC60-F475081B3DDD}"/>
              </a:ext>
            </a:extLst>
          </p:cNvPr>
          <p:cNvPicPr>
            <a:picLocks noChangeAspect="1"/>
          </p:cNvPicPr>
          <p:nvPr/>
        </p:nvPicPr>
        <p:blipFill>
          <a:blip r:embed="rId6" cstate="print">
            <a:extLst>
              <a:ext uri="{28A0092B-C50C-407E-A947-70E740481C1C}">
                <a14:useLocalDpi xmlns:a14="http://schemas.microsoft.com/office/drawing/2010/main" val="0"/>
              </a:ext>
            </a:extLst>
          </a:blip>
          <a:srcRect t="7812" b="7812"/>
          <a:stretch/>
        </p:blipFill>
        <p:spPr>
          <a:xfrm>
            <a:off x="1248248" y="3725441"/>
            <a:ext cx="2651756" cy="1491613"/>
          </a:xfrm>
          <a:prstGeom prst="roundRect">
            <a:avLst/>
          </a:prstGeom>
          <a:effectLst/>
        </p:spPr>
      </p:pic>
      <p:sp>
        <p:nvSpPr>
          <p:cNvPr id="79" name="Textfeld 78">
            <a:extLst>
              <a:ext uri="{FF2B5EF4-FFF2-40B4-BE49-F238E27FC236}">
                <a16:creationId xmlns:a16="http://schemas.microsoft.com/office/drawing/2014/main" id="{81391C5A-4672-9ACB-B680-60676623053D}"/>
              </a:ext>
            </a:extLst>
          </p:cNvPr>
          <p:cNvSpPr txBox="1"/>
          <p:nvPr/>
        </p:nvSpPr>
        <p:spPr>
          <a:xfrm>
            <a:off x="1394116" y="3988439"/>
            <a:ext cx="2370008" cy="861774"/>
          </a:xfrm>
          <a:prstGeom prst="rect">
            <a:avLst/>
          </a:prstGeom>
          <a:effectLst/>
        </p:spPr>
        <p:txBody>
          <a:bodyPr vert="horz" wrap="none" lIns="0" tIns="0" rIns="0" bIns="0" rtlCol="0" anchor="ctr">
            <a:spAutoFit/>
          </a:bodyPr>
          <a:lstStyle/>
          <a:p>
            <a:pPr algn="ctr"/>
            <a:r>
              <a:rPr lang="de-DE" sz="2800" dirty="0">
                <a:solidFill>
                  <a:schemeClr val="bg1"/>
                </a:solidFill>
              </a:rPr>
              <a:t>Daten- und </a:t>
            </a:r>
            <a:endParaRPr lang="de-DE" dirty="0">
              <a:solidFill>
                <a:schemeClr val="bg1"/>
              </a:solidFill>
            </a:endParaRPr>
          </a:p>
          <a:p>
            <a:pPr algn="ctr"/>
            <a:r>
              <a:rPr lang="de-DE" sz="2800" dirty="0">
                <a:solidFill>
                  <a:schemeClr val="bg1"/>
                </a:solidFill>
              </a:rPr>
              <a:t>Prozessanalyse</a:t>
            </a:r>
            <a:endParaRPr lang="de-DE" dirty="0">
              <a:solidFill>
                <a:schemeClr val="bg1"/>
              </a:solidFill>
            </a:endParaRPr>
          </a:p>
        </p:txBody>
      </p:sp>
      <p:pic>
        <p:nvPicPr>
          <p:cNvPr id="80" name="Grafik 79">
            <a:extLst>
              <a:ext uri="{FF2B5EF4-FFF2-40B4-BE49-F238E27FC236}">
                <a16:creationId xmlns:a16="http://schemas.microsoft.com/office/drawing/2014/main" id="{75A0F6FB-3975-B6D0-0734-AD8548A4E9C5}"/>
              </a:ext>
            </a:extLst>
          </p:cNvPr>
          <p:cNvPicPr>
            <a:picLocks noChangeAspect="1"/>
          </p:cNvPicPr>
          <p:nvPr/>
        </p:nvPicPr>
        <p:blipFill>
          <a:blip r:embed="rId7" cstate="print">
            <a:alphaModFix/>
            <a:extLst>
              <a:ext uri="{28A0092B-C50C-407E-A947-70E740481C1C}">
                <a14:useLocalDpi xmlns:a14="http://schemas.microsoft.com/office/drawing/2010/main" val="0"/>
              </a:ext>
            </a:extLst>
          </a:blip>
          <a:srcRect t="10177" b="10177"/>
          <a:stretch/>
        </p:blipFill>
        <p:spPr>
          <a:xfrm>
            <a:off x="4658495" y="3793732"/>
            <a:ext cx="2596242" cy="1460386"/>
          </a:xfrm>
          <a:prstGeom prst="roundRect">
            <a:avLst/>
          </a:prstGeom>
          <a:effectLst>
            <a:glow>
              <a:schemeClr val="accent1">
                <a:alpha val="0"/>
              </a:schemeClr>
            </a:glow>
            <a:reflection endPos="0" dist="50800" dir="5400000" sy="-100000" algn="bl" rotWithShape="0"/>
          </a:effectLst>
        </p:spPr>
      </p:pic>
      <p:sp>
        <p:nvSpPr>
          <p:cNvPr id="81" name="Textfeld 80">
            <a:extLst>
              <a:ext uri="{FF2B5EF4-FFF2-40B4-BE49-F238E27FC236}">
                <a16:creationId xmlns:a16="http://schemas.microsoft.com/office/drawing/2014/main" id="{42574361-354D-4983-3D1D-3ACC7122B83E}"/>
              </a:ext>
            </a:extLst>
          </p:cNvPr>
          <p:cNvSpPr txBox="1"/>
          <p:nvPr/>
        </p:nvSpPr>
        <p:spPr>
          <a:xfrm>
            <a:off x="5148105" y="4097372"/>
            <a:ext cx="1981312" cy="861774"/>
          </a:xfrm>
          <a:prstGeom prst="rect">
            <a:avLst/>
          </a:prstGeom>
          <a:effectLst/>
        </p:spPr>
        <p:txBody>
          <a:bodyPr vert="horz" wrap="none" lIns="0" tIns="0" rIns="0" bIns="0" rtlCol="0" anchor="ctr">
            <a:spAutoFit/>
          </a:bodyPr>
          <a:lstStyle/>
          <a:p>
            <a:pPr algn="ctr"/>
            <a:r>
              <a:rPr lang="de-DE" sz="2800" dirty="0">
                <a:solidFill>
                  <a:schemeClr val="bg1"/>
                </a:solidFill>
              </a:rPr>
              <a:t>Daten-</a:t>
            </a:r>
            <a:br>
              <a:rPr lang="de-DE" sz="2800" dirty="0">
                <a:solidFill>
                  <a:schemeClr val="bg1"/>
                </a:solidFill>
              </a:rPr>
            </a:br>
            <a:r>
              <a:rPr lang="de-DE" sz="2800" dirty="0" err="1">
                <a:solidFill>
                  <a:schemeClr val="bg1"/>
                </a:solidFill>
              </a:rPr>
              <a:t>visualisierung</a:t>
            </a:r>
            <a:endParaRPr lang="de-DE" sz="2800" dirty="0">
              <a:solidFill>
                <a:schemeClr val="bg1"/>
              </a:solidFill>
            </a:endParaRPr>
          </a:p>
        </p:txBody>
      </p:sp>
    </p:spTree>
    <p:extLst>
      <p:ext uri="{BB962C8B-B14F-4D97-AF65-F5344CB8AC3E}">
        <p14:creationId xmlns:p14="http://schemas.microsoft.com/office/powerpoint/2010/main" val="12222798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F75FEB-1E18-124F-10AF-11244254A3CD}"/>
              </a:ext>
            </a:extLst>
          </p:cNvPr>
          <p:cNvSpPr>
            <a:spLocks noGrp="1"/>
          </p:cNvSpPr>
          <p:nvPr>
            <p:ph type="title"/>
          </p:nvPr>
        </p:nvSpPr>
        <p:spPr/>
        <p:txBody>
          <a:bodyPr/>
          <a:lstStyle/>
          <a:p>
            <a:r>
              <a:rPr lang="en-US"/>
              <a:t>Wie </a:t>
            </a:r>
            <a:r>
              <a:rPr lang="en-US" err="1"/>
              <a:t>werden</a:t>
            </a:r>
            <a:r>
              <a:rPr lang="en-US"/>
              <a:t> LLMs </a:t>
            </a:r>
            <a:r>
              <a:rPr lang="en-US" err="1"/>
              <a:t>trainiert</a:t>
            </a:r>
            <a:r>
              <a:rPr lang="en-US"/>
              <a:t>?</a:t>
            </a:r>
          </a:p>
        </p:txBody>
      </p:sp>
      <p:sp>
        <p:nvSpPr>
          <p:cNvPr id="4" name="Foliennummernplatzhalter 3">
            <a:extLst>
              <a:ext uri="{FF2B5EF4-FFF2-40B4-BE49-F238E27FC236}">
                <a16:creationId xmlns:a16="http://schemas.microsoft.com/office/drawing/2014/main" id="{64B2373D-056B-DBF4-A5E6-290468FC39ED}"/>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30</a:t>
            </a:fld>
            <a:endParaRPr lang="en-US" sz="810">
              <a:solidFill>
                <a:srgbClr val="889194"/>
              </a:solidFill>
              <a:latin typeface="Trebuchet MS"/>
            </a:endParaRPr>
          </a:p>
        </p:txBody>
      </p:sp>
      <p:sp>
        <p:nvSpPr>
          <p:cNvPr id="8" name="Oval 18">
            <a:extLst>
              <a:ext uri="{FF2B5EF4-FFF2-40B4-BE49-F238E27FC236}">
                <a16:creationId xmlns:a16="http://schemas.microsoft.com/office/drawing/2014/main" id="{71AB92E5-F38D-7355-E340-1E8CDC07D654}"/>
              </a:ext>
            </a:extLst>
          </p:cNvPr>
          <p:cNvSpPr/>
          <p:nvPr/>
        </p:nvSpPr>
        <p:spPr>
          <a:xfrm>
            <a:off x="2769062" y="2898859"/>
            <a:ext cx="870166" cy="87016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620">
              <a:solidFill>
                <a:srgbClr val="FFFFFF"/>
              </a:solidFill>
              <a:latin typeface="Trebuchet MS"/>
            </a:endParaRPr>
          </a:p>
        </p:txBody>
      </p:sp>
      <p:cxnSp>
        <p:nvCxnSpPr>
          <p:cNvPr id="9" name="Straight Connector 38">
            <a:extLst>
              <a:ext uri="{FF2B5EF4-FFF2-40B4-BE49-F238E27FC236}">
                <a16:creationId xmlns:a16="http://schemas.microsoft.com/office/drawing/2014/main" id="{EA8A9A9A-9A39-2FD2-4E41-5AFE557651D0}"/>
              </a:ext>
            </a:extLst>
          </p:cNvPr>
          <p:cNvCxnSpPr>
            <a:cxnSpLocks/>
          </p:cNvCxnSpPr>
          <p:nvPr/>
        </p:nvCxnSpPr>
        <p:spPr>
          <a:xfrm>
            <a:off x="3639231" y="3347627"/>
            <a:ext cx="1999278" cy="0"/>
          </a:xfrm>
          <a:prstGeom prst="line">
            <a:avLst/>
          </a:prstGeom>
          <a:ln w="12700">
            <a:solidFill>
              <a:srgbClr val="D9D9D9"/>
            </a:solidFill>
            <a:prstDash val="dash"/>
            <a:tailEnd type="oval"/>
          </a:ln>
        </p:spPr>
        <p:style>
          <a:lnRef idx="1">
            <a:schemeClr val="accent1"/>
          </a:lnRef>
          <a:fillRef idx="0">
            <a:schemeClr val="accent1"/>
          </a:fillRef>
          <a:effectRef idx="0">
            <a:schemeClr val="accent1"/>
          </a:effectRef>
          <a:fontRef idx="minor">
            <a:schemeClr val="tx1"/>
          </a:fontRef>
        </p:style>
      </p:cxnSp>
      <p:grpSp>
        <p:nvGrpSpPr>
          <p:cNvPr id="10" name="Group 1">
            <a:extLst>
              <a:ext uri="{FF2B5EF4-FFF2-40B4-BE49-F238E27FC236}">
                <a16:creationId xmlns:a16="http://schemas.microsoft.com/office/drawing/2014/main" id="{2C8EF905-0C89-0088-B351-791277BFD4B6}"/>
              </a:ext>
            </a:extLst>
          </p:cNvPr>
          <p:cNvGrpSpPr/>
          <p:nvPr/>
        </p:nvGrpSpPr>
        <p:grpSpPr>
          <a:xfrm>
            <a:off x="3778169" y="1893222"/>
            <a:ext cx="2324114" cy="870164"/>
            <a:chOff x="3866681" y="1331960"/>
            <a:chExt cx="2836174" cy="1061884"/>
          </a:xfrm>
          <a:solidFill>
            <a:schemeClr val="accent2"/>
          </a:solidFill>
        </p:grpSpPr>
        <p:cxnSp>
          <p:nvCxnSpPr>
            <p:cNvPr id="11" name="Straight Connector 43">
              <a:extLst>
                <a:ext uri="{FF2B5EF4-FFF2-40B4-BE49-F238E27FC236}">
                  <a16:creationId xmlns:a16="http://schemas.microsoft.com/office/drawing/2014/main" id="{1AA79F56-4F59-8D6E-8F2D-BFDECB267F6F}"/>
                </a:ext>
              </a:extLst>
            </p:cNvPr>
            <p:cNvCxnSpPr>
              <a:cxnSpLocks/>
            </p:cNvCxnSpPr>
            <p:nvPr/>
          </p:nvCxnSpPr>
          <p:spPr>
            <a:xfrm>
              <a:off x="4263087" y="1860754"/>
              <a:ext cx="2439768" cy="0"/>
            </a:xfrm>
            <a:prstGeom prst="line">
              <a:avLst/>
            </a:prstGeom>
            <a:grpFill/>
            <a:ln w="12700">
              <a:solidFill>
                <a:srgbClr val="D9D9D9"/>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2" name="Oval 16">
              <a:extLst>
                <a:ext uri="{FF2B5EF4-FFF2-40B4-BE49-F238E27FC236}">
                  <a16:creationId xmlns:a16="http://schemas.microsoft.com/office/drawing/2014/main" id="{A67E657A-599B-CFBB-E307-9A59BF2AF315}"/>
                </a:ext>
              </a:extLst>
            </p:cNvPr>
            <p:cNvSpPr/>
            <p:nvPr/>
          </p:nvSpPr>
          <p:spPr>
            <a:xfrm>
              <a:off x="3866681" y="1331960"/>
              <a:ext cx="1061884" cy="10618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620">
                <a:solidFill>
                  <a:srgbClr val="FFFFFF"/>
                </a:solidFill>
                <a:latin typeface="Trebuchet MS"/>
              </a:endParaRPr>
            </a:p>
          </p:txBody>
        </p:sp>
      </p:grpSp>
      <p:grpSp>
        <p:nvGrpSpPr>
          <p:cNvPr id="13" name="Group 3">
            <a:extLst>
              <a:ext uri="{FF2B5EF4-FFF2-40B4-BE49-F238E27FC236}">
                <a16:creationId xmlns:a16="http://schemas.microsoft.com/office/drawing/2014/main" id="{BDD6FC2A-0CE6-EC7C-01E4-DCB1E3877AB4}"/>
              </a:ext>
            </a:extLst>
          </p:cNvPr>
          <p:cNvGrpSpPr/>
          <p:nvPr/>
        </p:nvGrpSpPr>
        <p:grpSpPr>
          <a:xfrm>
            <a:off x="3730706" y="3899277"/>
            <a:ext cx="2751317" cy="870164"/>
            <a:chOff x="3808764" y="3780004"/>
            <a:chExt cx="3357500" cy="1061884"/>
          </a:xfrm>
          <a:solidFill>
            <a:schemeClr val="tx2"/>
          </a:solidFill>
        </p:grpSpPr>
        <p:cxnSp>
          <p:nvCxnSpPr>
            <p:cNvPr id="14" name="Straight Connector 44">
              <a:extLst>
                <a:ext uri="{FF2B5EF4-FFF2-40B4-BE49-F238E27FC236}">
                  <a16:creationId xmlns:a16="http://schemas.microsoft.com/office/drawing/2014/main" id="{6EE03B69-097A-ABFA-2709-A7F07F26225B}"/>
                </a:ext>
              </a:extLst>
            </p:cNvPr>
            <p:cNvCxnSpPr>
              <a:cxnSpLocks/>
            </p:cNvCxnSpPr>
            <p:nvPr/>
          </p:nvCxnSpPr>
          <p:spPr>
            <a:xfrm>
              <a:off x="4726495" y="4406924"/>
              <a:ext cx="2439769" cy="0"/>
            </a:xfrm>
            <a:prstGeom prst="line">
              <a:avLst/>
            </a:prstGeom>
            <a:grpFill/>
            <a:ln w="12700">
              <a:solidFill>
                <a:srgbClr val="D9D9D9"/>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5" name="Oval 19">
              <a:extLst>
                <a:ext uri="{FF2B5EF4-FFF2-40B4-BE49-F238E27FC236}">
                  <a16:creationId xmlns:a16="http://schemas.microsoft.com/office/drawing/2014/main" id="{F052CE96-152A-F296-F7FB-4657E8C82453}"/>
                </a:ext>
              </a:extLst>
            </p:cNvPr>
            <p:cNvSpPr/>
            <p:nvPr/>
          </p:nvSpPr>
          <p:spPr>
            <a:xfrm>
              <a:off x="3808764" y="3780004"/>
              <a:ext cx="1061884" cy="10618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620">
                <a:solidFill>
                  <a:srgbClr val="FFFFFF"/>
                </a:solidFill>
                <a:latin typeface="Trebuchet MS"/>
              </a:endParaRPr>
            </a:p>
          </p:txBody>
        </p:sp>
      </p:grpSp>
      <p:cxnSp>
        <p:nvCxnSpPr>
          <p:cNvPr id="16" name="Straight Connector 45">
            <a:extLst>
              <a:ext uri="{FF2B5EF4-FFF2-40B4-BE49-F238E27FC236}">
                <a16:creationId xmlns:a16="http://schemas.microsoft.com/office/drawing/2014/main" id="{A90DA479-BFC7-FFAA-82F5-8F254AE8F315}"/>
              </a:ext>
            </a:extLst>
          </p:cNvPr>
          <p:cNvCxnSpPr>
            <a:cxnSpLocks/>
          </p:cNvCxnSpPr>
          <p:nvPr/>
        </p:nvCxnSpPr>
        <p:spPr>
          <a:xfrm>
            <a:off x="3315251" y="5454797"/>
            <a:ext cx="1999278" cy="0"/>
          </a:xfrm>
          <a:prstGeom prst="line">
            <a:avLst/>
          </a:prstGeom>
          <a:ln w="12700">
            <a:solidFill>
              <a:srgbClr val="D9D9D9"/>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7" name="Oval 20">
            <a:extLst>
              <a:ext uri="{FF2B5EF4-FFF2-40B4-BE49-F238E27FC236}">
                <a16:creationId xmlns:a16="http://schemas.microsoft.com/office/drawing/2014/main" id="{D7BE9A5A-026C-1CEF-3048-2412BA31CD8A}"/>
              </a:ext>
            </a:extLst>
          </p:cNvPr>
          <p:cNvSpPr/>
          <p:nvPr/>
        </p:nvSpPr>
        <p:spPr>
          <a:xfrm>
            <a:off x="2769062" y="4868934"/>
            <a:ext cx="870166" cy="87016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620">
              <a:solidFill>
                <a:srgbClr val="FFFFFF"/>
              </a:solidFill>
              <a:latin typeface="Trebuchet MS"/>
            </a:endParaRPr>
          </a:p>
        </p:txBody>
      </p:sp>
      <p:grpSp>
        <p:nvGrpSpPr>
          <p:cNvPr id="18" name="Group 21">
            <a:extLst>
              <a:ext uri="{FF2B5EF4-FFF2-40B4-BE49-F238E27FC236}">
                <a16:creationId xmlns:a16="http://schemas.microsoft.com/office/drawing/2014/main" id="{37AC7965-359F-B2E9-9FA0-D2F14A736F2B}"/>
              </a:ext>
            </a:extLst>
          </p:cNvPr>
          <p:cNvGrpSpPr/>
          <p:nvPr/>
        </p:nvGrpSpPr>
        <p:grpSpPr>
          <a:xfrm>
            <a:off x="609603" y="1514406"/>
            <a:ext cx="4434964" cy="4580023"/>
            <a:chOff x="1" y="869683"/>
            <a:chExt cx="5412095" cy="5589124"/>
          </a:xfrm>
          <a:solidFill>
            <a:srgbClr val="F2F2F2"/>
          </a:solidFill>
        </p:grpSpPr>
        <p:grpSp>
          <p:nvGrpSpPr>
            <p:cNvPr id="19" name="Group 15">
              <a:extLst>
                <a:ext uri="{FF2B5EF4-FFF2-40B4-BE49-F238E27FC236}">
                  <a16:creationId xmlns:a16="http://schemas.microsoft.com/office/drawing/2014/main" id="{89CE1D9F-0E96-9BC1-97F3-FB99CCCC898A}"/>
                </a:ext>
              </a:extLst>
            </p:cNvPr>
            <p:cNvGrpSpPr/>
            <p:nvPr/>
          </p:nvGrpSpPr>
          <p:grpSpPr>
            <a:xfrm>
              <a:off x="2167053" y="869683"/>
              <a:ext cx="3245043" cy="5589124"/>
              <a:chOff x="2167053" y="869683"/>
              <a:chExt cx="3245043" cy="5589124"/>
            </a:xfrm>
            <a:grpFill/>
          </p:grpSpPr>
          <p:sp>
            <p:nvSpPr>
              <p:cNvPr id="21" name="Block Arc 9">
                <a:extLst>
                  <a:ext uri="{FF2B5EF4-FFF2-40B4-BE49-F238E27FC236}">
                    <a16:creationId xmlns:a16="http://schemas.microsoft.com/office/drawing/2014/main" id="{C9EEDEA6-948E-C4CD-C66F-83B740CFA29B}"/>
                  </a:ext>
                </a:extLst>
              </p:cNvPr>
              <p:cNvSpPr/>
              <p:nvPr/>
            </p:nvSpPr>
            <p:spPr>
              <a:xfrm rot="13814570">
                <a:off x="2167053" y="4503399"/>
                <a:ext cx="1955408" cy="1955408"/>
              </a:xfrm>
              <a:prstGeom prst="blockArc">
                <a:avLst>
                  <a:gd name="adj1" fmla="val 5118103"/>
                  <a:gd name="adj2" fmla="val 5063959"/>
                  <a:gd name="adj3" fmla="val 1461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620">
                  <a:solidFill>
                    <a:srgbClr val="000000"/>
                  </a:solidFill>
                  <a:latin typeface="Trebuchet MS"/>
                </a:endParaRPr>
              </a:p>
            </p:txBody>
          </p:sp>
          <p:sp>
            <p:nvSpPr>
              <p:cNvPr id="22" name="Block Arc 11">
                <a:extLst>
                  <a:ext uri="{FF2B5EF4-FFF2-40B4-BE49-F238E27FC236}">
                    <a16:creationId xmlns:a16="http://schemas.microsoft.com/office/drawing/2014/main" id="{F08CCF54-49A7-177F-021F-D93F91058A3D}"/>
                  </a:ext>
                </a:extLst>
              </p:cNvPr>
              <p:cNvSpPr/>
              <p:nvPr/>
            </p:nvSpPr>
            <p:spPr>
              <a:xfrm rot="3274271">
                <a:off x="3349628" y="3327319"/>
                <a:ext cx="1955408" cy="1955408"/>
              </a:xfrm>
              <a:prstGeom prst="blockArc">
                <a:avLst>
                  <a:gd name="adj1" fmla="val 10259165"/>
                  <a:gd name="adj2" fmla="val 5063959"/>
                  <a:gd name="adj3" fmla="val 1461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620">
                  <a:solidFill>
                    <a:srgbClr val="000000"/>
                  </a:solidFill>
                  <a:latin typeface="Trebuchet MS"/>
                </a:endParaRPr>
              </a:p>
            </p:txBody>
          </p:sp>
          <p:sp>
            <p:nvSpPr>
              <p:cNvPr id="23" name="Block Arc 13">
                <a:extLst>
                  <a:ext uri="{FF2B5EF4-FFF2-40B4-BE49-F238E27FC236}">
                    <a16:creationId xmlns:a16="http://schemas.microsoft.com/office/drawing/2014/main" id="{B0EBD724-03B8-F4F7-58F8-36A96314F13F}"/>
                  </a:ext>
                </a:extLst>
              </p:cNvPr>
              <p:cNvSpPr/>
              <p:nvPr/>
            </p:nvSpPr>
            <p:spPr>
              <a:xfrm rot="13500000">
                <a:off x="2220538" y="2099080"/>
                <a:ext cx="1955408" cy="1955408"/>
              </a:xfrm>
              <a:prstGeom prst="blockArc">
                <a:avLst>
                  <a:gd name="adj1" fmla="val 10800000"/>
                  <a:gd name="adj2" fmla="val 5063959"/>
                  <a:gd name="adj3" fmla="val 1461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620">
                  <a:solidFill>
                    <a:srgbClr val="000000"/>
                  </a:solidFill>
                  <a:latin typeface="Trebuchet MS"/>
                </a:endParaRPr>
              </a:p>
            </p:txBody>
          </p:sp>
          <p:sp>
            <p:nvSpPr>
              <p:cNvPr id="24" name="Block Arc 14">
                <a:extLst>
                  <a:ext uri="{FF2B5EF4-FFF2-40B4-BE49-F238E27FC236}">
                    <a16:creationId xmlns:a16="http://schemas.microsoft.com/office/drawing/2014/main" id="{717BFED3-2828-420E-27FF-97F00F727855}"/>
                  </a:ext>
                </a:extLst>
              </p:cNvPr>
              <p:cNvSpPr/>
              <p:nvPr/>
            </p:nvSpPr>
            <p:spPr>
              <a:xfrm rot="3507433">
                <a:off x="3383151" y="869683"/>
                <a:ext cx="2028945" cy="2028945"/>
              </a:xfrm>
              <a:prstGeom prst="blockArc">
                <a:avLst>
                  <a:gd name="adj1" fmla="val 10800000"/>
                  <a:gd name="adj2" fmla="val 5059950"/>
                  <a:gd name="adj3" fmla="val 1428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620">
                  <a:solidFill>
                    <a:srgbClr val="000000"/>
                  </a:solidFill>
                  <a:latin typeface="Trebuchet MS"/>
                </a:endParaRPr>
              </a:p>
            </p:txBody>
          </p:sp>
        </p:grpSp>
        <p:sp>
          <p:nvSpPr>
            <p:cNvPr id="20" name="Rectangle 14">
              <a:extLst>
                <a:ext uri="{FF2B5EF4-FFF2-40B4-BE49-F238E27FC236}">
                  <a16:creationId xmlns:a16="http://schemas.microsoft.com/office/drawing/2014/main" id="{055C269F-37F3-12A6-9F92-5253A981F989}"/>
                </a:ext>
              </a:extLst>
            </p:cNvPr>
            <p:cNvSpPr/>
            <p:nvPr/>
          </p:nvSpPr>
          <p:spPr>
            <a:xfrm>
              <a:off x="1" y="997313"/>
              <a:ext cx="4019550" cy="2695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620">
                <a:solidFill>
                  <a:srgbClr val="FFFFFF"/>
                </a:solidFill>
                <a:latin typeface="Trebuchet MS"/>
              </a:endParaRPr>
            </a:p>
          </p:txBody>
        </p:sp>
      </p:grpSp>
      <p:sp>
        <p:nvSpPr>
          <p:cNvPr id="25" name="Rectangle 19">
            <a:extLst>
              <a:ext uri="{FF2B5EF4-FFF2-40B4-BE49-F238E27FC236}">
                <a16:creationId xmlns:a16="http://schemas.microsoft.com/office/drawing/2014/main" id="{D316A262-FAC2-AF04-1475-62200B3BF47A}"/>
              </a:ext>
            </a:extLst>
          </p:cNvPr>
          <p:cNvSpPr/>
          <p:nvPr/>
        </p:nvSpPr>
        <p:spPr>
          <a:xfrm flipH="1">
            <a:off x="4052725" y="2021843"/>
            <a:ext cx="321056" cy="609398"/>
          </a:xfrm>
          <a:prstGeom prst="rect">
            <a:avLst/>
          </a:prstGeom>
        </p:spPr>
        <p:txBody>
          <a:bodyPr wrap="square" lIns="0" tIns="0" rIns="0" bIns="0" anchor="ctr">
            <a:spAutoFit/>
          </a:bodyPr>
          <a:lstStyle/>
          <a:p>
            <a:pPr algn="ctr" defTabSz="822960">
              <a:defRPr/>
            </a:pPr>
            <a:r>
              <a:rPr lang="en-US" sz="3960" b="1">
                <a:solidFill>
                  <a:srgbClr val="FFFFFF"/>
                </a:solidFill>
                <a:latin typeface="Trebuchet MS"/>
              </a:rPr>
              <a:t>1</a:t>
            </a:r>
            <a:endParaRPr lang="en-US" sz="1440" b="1">
              <a:solidFill>
                <a:srgbClr val="FFFFFF"/>
              </a:solidFill>
              <a:latin typeface="Trebuchet MS"/>
              <a:cs typeface="Arial" panose="020B0604020202020204" pitchFamily="34" charset="0"/>
            </a:endParaRPr>
          </a:p>
        </p:txBody>
      </p:sp>
      <p:sp>
        <p:nvSpPr>
          <p:cNvPr id="26" name="Rectangle 20">
            <a:extLst>
              <a:ext uri="{FF2B5EF4-FFF2-40B4-BE49-F238E27FC236}">
                <a16:creationId xmlns:a16="http://schemas.microsoft.com/office/drawing/2014/main" id="{8E26F7F3-2017-C38B-7CA3-381D6A83FC89}"/>
              </a:ext>
            </a:extLst>
          </p:cNvPr>
          <p:cNvSpPr/>
          <p:nvPr/>
        </p:nvSpPr>
        <p:spPr>
          <a:xfrm flipH="1">
            <a:off x="3026058" y="3029242"/>
            <a:ext cx="321056" cy="609398"/>
          </a:xfrm>
          <a:prstGeom prst="rect">
            <a:avLst/>
          </a:prstGeom>
        </p:spPr>
        <p:txBody>
          <a:bodyPr wrap="square" lIns="0" tIns="0" rIns="0" bIns="0" anchor="ctr">
            <a:spAutoFit/>
          </a:bodyPr>
          <a:lstStyle/>
          <a:p>
            <a:pPr algn="ctr" defTabSz="822960">
              <a:defRPr/>
            </a:pPr>
            <a:r>
              <a:rPr lang="en-US" sz="3960" b="1">
                <a:solidFill>
                  <a:srgbClr val="FFFFFF"/>
                </a:solidFill>
                <a:latin typeface="Trebuchet MS"/>
                <a:cs typeface="Arial" panose="020B0604020202020204" pitchFamily="34" charset="0"/>
              </a:rPr>
              <a:t>2</a:t>
            </a:r>
            <a:endParaRPr lang="en-US" sz="1440" b="1">
              <a:solidFill>
                <a:srgbClr val="FFFFFF"/>
              </a:solidFill>
              <a:latin typeface="Trebuchet MS"/>
              <a:cs typeface="Arial" panose="020B0604020202020204" pitchFamily="34" charset="0"/>
            </a:endParaRPr>
          </a:p>
        </p:txBody>
      </p:sp>
      <p:sp>
        <p:nvSpPr>
          <p:cNvPr id="27" name="Rectangle 21">
            <a:extLst>
              <a:ext uri="{FF2B5EF4-FFF2-40B4-BE49-F238E27FC236}">
                <a16:creationId xmlns:a16="http://schemas.microsoft.com/office/drawing/2014/main" id="{1A585743-95DE-86BF-F8F6-3DB65EF4040E}"/>
              </a:ext>
            </a:extLst>
          </p:cNvPr>
          <p:cNvSpPr/>
          <p:nvPr/>
        </p:nvSpPr>
        <p:spPr>
          <a:xfrm flipH="1">
            <a:off x="4006155" y="4005406"/>
            <a:ext cx="321056" cy="609398"/>
          </a:xfrm>
          <a:prstGeom prst="rect">
            <a:avLst/>
          </a:prstGeom>
        </p:spPr>
        <p:txBody>
          <a:bodyPr wrap="square" lIns="0" tIns="0" rIns="0" bIns="0" anchor="ctr">
            <a:spAutoFit/>
          </a:bodyPr>
          <a:lstStyle/>
          <a:p>
            <a:pPr algn="ctr" defTabSz="822960">
              <a:defRPr/>
            </a:pPr>
            <a:r>
              <a:rPr lang="en-US" sz="3960" b="1">
                <a:solidFill>
                  <a:srgbClr val="FFFFFF"/>
                </a:solidFill>
                <a:latin typeface="Trebuchet MS"/>
                <a:cs typeface="Arial" panose="020B0604020202020204" pitchFamily="34" charset="0"/>
              </a:rPr>
              <a:t>3</a:t>
            </a:r>
            <a:endParaRPr lang="en-US" sz="1440" b="1">
              <a:solidFill>
                <a:srgbClr val="FFFFFF"/>
              </a:solidFill>
              <a:latin typeface="Trebuchet MS"/>
              <a:cs typeface="Arial" panose="020B0604020202020204" pitchFamily="34" charset="0"/>
            </a:endParaRPr>
          </a:p>
        </p:txBody>
      </p:sp>
      <p:sp>
        <p:nvSpPr>
          <p:cNvPr id="28" name="Rectangle 22">
            <a:extLst>
              <a:ext uri="{FF2B5EF4-FFF2-40B4-BE49-F238E27FC236}">
                <a16:creationId xmlns:a16="http://schemas.microsoft.com/office/drawing/2014/main" id="{53144EDE-536C-E863-34D2-95A2239529E0}"/>
              </a:ext>
            </a:extLst>
          </p:cNvPr>
          <p:cNvSpPr/>
          <p:nvPr/>
        </p:nvSpPr>
        <p:spPr>
          <a:xfrm flipH="1">
            <a:off x="3026058" y="4985589"/>
            <a:ext cx="321056" cy="609398"/>
          </a:xfrm>
          <a:prstGeom prst="rect">
            <a:avLst/>
          </a:prstGeom>
        </p:spPr>
        <p:txBody>
          <a:bodyPr wrap="square" lIns="0" tIns="0" rIns="0" bIns="0" anchor="ctr">
            <a:spAutoFit/>
          </a:bodyPr>
          <a:lstStyle/>
          <a:p>
            <a:pPr algn="ctr" defTabSz="822960">
              <a:defRPr/>
            </a:pPr>
            <a:r>
              <a:rPr lang="en-US" sz="3960" b="1">
                <a:solidFill>
                  <a:srgbClr val="FFFFFF"/>
                </a:solidFill>
                <a:latin typeface="Trebuchet MS"/>
                <a:cs typeface="Arial" panose="020B0604020202020204" pitchFamily="34" charset="0"/>
              </a:rPr>
              <a:t>4</a:t>
            </a:r>
            <a:endParaRPr lang="en-US" sz="1440" b="1">
              <a:solidFill>
                <a:srgbClr val="FFFFFF"/>
              </a:solidFill>
              <a:latin typeface="Trebuchet MS"/>
              <a:cs typeface="Arial" panose="020B0604020202020204" pitchFamily="34" charset="0"/>
            </a:endParaRPr>
          </a:p>
        </p:txBody>
      </p:sp>
      <p:sp>
        <p:nvSpPr>
          <p:cNvPr id="29" name="TextBox 82">
            <a:extLst>
              <a:ext uri="{FF2B5EF4-FFF2-40B4-BE49-F238E27FC236}">
                <a16:creationId xmlns:a16="http://schemas.microsoft.com/office/drawing/2014/main" id="{49233F04-E86B-4074-8EEB-DE49C4F0DEB4}"/>
              </a:ext>
            </a:extLst>
          </p:cNvPr>
          <p:cNvSpPr txBox="1"/>
          <p:nvPr/>
        </p:nvSpPr>
        <p:spPr>
          <a:xfrm>
            <a:off x="6238594" y="1837178"/>
            <a:ext cx="5262704" cy="978729"/>
          </a:xfrm>
          <a:prstGeom prst="rect">
            <a:avLst/>
          </a:prstGeom>
          <a:noFill/>
        </p:spPr>
        <p:txBody>
          <a:bodyPr wrap="square" lIns="0" rIns="0" rtlCol="0" anchor="ctr">
            <a:spAutoFit/>
          </a:bodyPr>
          <a:lstStyle/>
          <a:p>
            <a:pPr defTabSz="822960">
              <a:defRPr/>
            </a:pPr>
            <a:r>
              <a:rPr lang="en-US" sz="1440" b="1" err="1">
                <a:solidFill>
                  <a:srgbClr val="2694FE"/>
                </a:solidFill>
                <a:latin typeface="Trebuchet MS"/>
              </a:rPr>
              <a:t>Datensammlung</a:t>
            </a:r>
            <a:r>
              <a:rPr lang="en-US" sz="1440" b="1">
                <a:solidFill>
                  <a:srgbClr val="2694FE"/>
                </a:solidFill>
                <a:latin typeface="Trebuchet MS"/>
              </a:rPr>
              <a:t> und </a:t>
            </a:r>
            <a:r>
              <a:rPr lang="en-US" sz="1440" b="1" err="1">
                <a:solidFill>
                  <a:srgbClr val="2694FE"/>
                </a:solidFill>
                <a:latin typeface="Trebuchet MS"/>
              </a:rPr>
              <a:t>Vorverarbeitung</a:t>
            </a:r>
            <a:endParaRPr lang="de-DE" sz="1440">
              <a:solidFill>
                <a:srgbClr val="2694FE"/>
              </a:solidFill>
              <a:latin typeface="Trebuchet MS"/>
            </a:endParaRPr>
          </a:p>
          <a:p>
            <a:pPr marL="257176" indent="-257176" defTabSz="822960">
              <a:buFont typeface="Arial" panose="020B0604020202020204" pitchFamily="34" charset="0"/>
              <a:buChar char="•"/>
              <a:defRPr/>
            </a:pPr>
            <a:r>
              <a:rPr lang="de-DE" sz="1440">
                <a:solidFill>
                  <a:srgbClr val="000000"/>
                </a:solidFill>
                <a:latin typeface="Trebuchet MS"/>
              </a:rPr>
              <a:t>Sammeln von Trainingsdaten (Bücher, Websites, Paper, etc.)</a:t>
            </a:r>
          </a:p>
          <a:p>
            <a:pPr marL="257176" indent="-257176" defTabSz="822960">
              <a:buFont typeface="Arial" panose="020B0604020202020204" pitchFamily="34" charset="0"/>
              <a:buChar char="•"/>
              <a:defRPr/>
            </a:pPr>
            <a:r>
              <a:rPr lang="de-DE" sz="1440">
                <a:solidFill>
                  <a:srgbClr val="000000"/>
                </a:solidFill>
                <a:latin typeface="Trebuchet MS"/>
              </a:rPr>
              <a:t>Datenaufbereitung durch Reinigung, Tokenisierung und Anpassung</a:t>
            </a:r>
            <a:endParaRPr lang="en-US" sz="1440">
              <a:solidFill>
                <a:srgbClr val="000000"/>
              </a:solidFill>
              <a:latin typeface="Trebuchet MS"/>
            </a:endParaRPr>
          </a:p>
        </p:txBody>
      </p:sp>
      <p:sp>
        <p:nvSpPr>
          <p:cNvPr id="30" name="TextBox 82">
            <a:extLst>
              <a:ext uri="{FF2B5EF4-FFF2-40B4-BE49-F238E27FC236}">
                <a16:creationId xmlns:a16="http://schemas.microsoft.com/office/drawing/2014/main" id="{B5C6D96E-527A-DFB1-ED26-740F27FA5764}"/>
              </a:ext>
            </a:extLst>
          </p:cNvPr>
          <p:cNvSpPr txBox="1"/>
          <p:nvPr/>
        </p:nvSpPr>
        <p:spPr>
          <a:xfrm>
            <a:off x="6601312" y="3718909"/>
            <a:ext cx="4899984" cy="1200329"/>
          </a:xfrm>
          <a:prstGeom prst="rect">
            <a:avLst/>
          </a:prstGeom>
          <a:noFill/>
        </p:spPr>
        <p:txBody>
          <a:bodyPr wrap="square" lIns="0" rIns="0" rtlCol="0" anchor="ctr">
            <a:spAutoFit/>
          </a:bodyPr>
          <a:lstStyle/>
          <a:p>
            <a:pPr defTabSz="822960">
              <a:defRPr/>
            </a:pPr>
            <a:r>
              <a:rPr lang="en-US" sz="1440" b="1" err="1">
                <a:solidFill>
                  <a:srgbClr val="004080"/>
                </a:solidFill>
                <a:latin typeface="Trebuchet MS"/>
              </a:rPr>
              <a:t>Modeltraining</a:t>
            </a:r>
            <a:endParaRPr lang="en-US" sz="1440" b="1">
              <a:solidFill>
                <a:srgbClr val="004080"/>
              </a:solidFill>
              <a:latin typeface="Trebuchet MS"/>
            </a:endParaRPr>
          </a:p>
          <a:p>
            <a:pPr marL="257176" indent="-257176" defTabSz="822960">
              <a:buFont typeface="Arial" panose="020B0604020202020204" pitchFamily="34" charset="0"/>
              <a:buChar char="•"/>
              <a:defRPr/>
            </a:pPr>
            <a:r>
              <a:rPr lang="de-DE" sz="1440">
                <a:solidFill>
                  <a:srgbClr val="000000"/>
                </a:solidFill>
                <a:latin typeface="Trebuchet MS"/>
              </a:rPr>
              <a:t>Modell wird Folge von Wörtern vorgelegt und darauf trainiert, das nächste Wort in der Folge vorherzusagen </a:t>
            </a:r>
          </a:p>
          <a:p>
            <a:pPr marL="257176" indent="-257176" defTabSz="822960">
              <a:buFont typeface="Arial" panose="020B0604020202020204" pitchFamily="34" charset="0"/>
              <a:buChar char="•"/>
              <a:defRPr/>
            </a:pPr>
            <a:r>
              <a:rPr lang="de-DE" sz="1440">
                <a:solidFill>
                  <a:srgbClr val="000000"/>
                </a:solidFill>
                <a:latin typeface="Trebuchet MS"/>
              </a:rPr>
              <a:t>Modell passt Gewichte anhand der Differenz zwischen seiner Vorhersage und tatsächlichen nächsten Wort an </a:t>
            </a:r>
            <a:endParaRPr lang="en-US" sz="1440">
              <a:solidFill>
                <a:srgbClr val="000000"/>
              </a:solidFill>
              <a:latin typeface="Trebuchet MS"/>
            </a:endParaRPr>
          </a:p>
        </p:txBody>
      </p:sp>
      <p:sp>
        <p:nvSpPr>
          <p:cNvPr id="31" name="TextBox 82">
            <a:extLst>
              <a:ext uri="{FF2B5EF4-FFF2-40B4-BE49-F238E27FC236}">
                <a16:creationId xmlns:a16="http://schemas.microsoft.com/office/drawing/2014/main" id="{B3861FC8-0137-4BFC-364D-03F28DAA4D63}"/>
              </a:ext>
            </a:extLst>
          </p:cNvPr>
          <p:cNvSpPr txBox="1"/>
          <p:nvPr/>
        </p:nvSpPr>
        <p:spPr>
          <a:xfrm>
            <a:off x="5807386" y="2892415"/>
            <a:ext cx="5693911" cy="757130"/>
          </a:xfrm>
          <a:prstGeom prst="rect">
            <a:avLst/>
          </a:prstGeom>
          <a:noFill/>
        </p:spPr>
        <p:txBody>
          <a:bodyPr wrap="square" lIns="0" rIns="0" rtlCol="0" anchor="ctr">
            <a:spAutoFit/>
          </a:bodyPr>
          <a:lstStyle/>
          <a:p>
            <a:pPr defTabSz="822960">
              <a:defRPr/>
            </a:pPr>
            <a:r>
              <a:rPr lang="en-US" sz="1440" b="1" err="1">
                <a:solidFill>
                  <a:srgbClr val="2694FE"/>
                </a:solidFill>
                <a:latin typeface="Trebuchet MS"/>
              </a:rPr>
              <a:t>Modelauswahl</a:t>
            </a:r>
            <a:r>
              <a:rPr lang="en-US" sz="1440" b="1">
                <a:solidFill>
                  <a:srgbClr val="2694FE"/>
                </a:solidFill>
                <a:latin typeface="Trebuchet MS"/>
              </a:rPr>
              <a:t> und </a:t>
            </a:r>
            <a:r>
              <a:rPr lang="en-US" sz="1440" b="1" err="1">
                <a:solidFill>
                  <a:srgbClr val="2694FE"/>
                </a:solidFill>
                <a:latin typeface="Trebuchet MS"/>
              </a:rPr>
              <a:t>Konfiguration</a:t>
            </a:r>
            <a:endParaRPr lang="en-US" sz="1440" b="1">
              <a:solidFill>
                <a:srgbClr val="2694FE"/>
              </a:solidFill>
              <a:latin typeface="Trebuchet MS"/>
            </a:endParaRPr>
          </a:p>
          <a:p>
            <a:pPr marL="257176" indent="-257176" defTabSz="822960">
              <a:buFont typeface="Arial" panose="020B0604020202020204" pitchFamily="34" charset="0"/>
              <a:buChar char="•"/>
              <a:defRPr/>
            </a:pPr>
            <a:r>
              <a:rPr lang="de-DE" sz="1440">
                <a:solidFill>
                  <a:srgbClr val="000000"/>
                </a:solidFill>
                <a:latin typeface="Trebuchet MS"/>
              </a:rPr>
              <a:t>Zumeist Verwendung von Transformer-Architekturen wie GPT-4 </a:t>
            </a:r>
          </a:p>
          <a:p>
            <a:pPr marL="257176" indent="-257176" defTabSz="822960">
              <a:buFont typeface="Arial" panose="020B0604020202020204" pitchFamily="34" charset="0"/>
              <a:buChar char="•"/>
              <a:defRPr/>
            </a:pPr>
            <a:r>
              <a:rPr lang="de-DE" sz="1440">
                <a:solidFill>
                  <a:srgbClr val="000000"/>
                </a:solidFill>
                <a:latin typeface="Trebuchet MS"/>
              </a:rPr>
              <a:t>Spezifikation von Schlüsselelementen (z. B. Anzahl der Schichten)</a:t>
            </a:r>
            <a:endParaRPr lang="en-US" sz="1440">
              <a:solidFill>
                <a:srgbClr val="000000"/>
              </a:solidFill>
              <a:latin typeface="Trebuchet MS"/>
            </a:endParaRPr>
          </a:p>
        </p:txBody>
      </p:sp>
      <p:sp>
        <p:nvSpPr>
          <p:cNvPr id="32" name="TextBox 82">
            <a:extLst>
              <a:ext uri="{FF2B5EF4-FFF2-40B4-BE49-F238E27FC236}">
                <a16:creationId xmlns:a16="http://schemas.microsoft.com/office/drawing/2014/main" id="{B6DA12C7-5E08-A486-7FD7-2669AC3B5BA9}"/>
              </a:ext>
            </a:extLst>
          </p:cNvPr>
          <p:cNvSpPr txBox="1"/>
          <p:nvPr/>
        </p:nvSpPr>
        <p:spPr>
          <a:xfrm>
            <a:off x="5482385" y="4978518"/>
            <a:ext cx="5892410" cy="978729"/>
          </a:xfrm>
          <a:prstGeom prst="rect">
            <a:avLst/>
          </a:prstGeom>
          <a:noFill/>
        </p:spPr>
        <p:txBody>
          <a:bodyPr wrap="square" lIns="0" rIns="0" rtlCol="0" anchor="ctr">
            <a:spAutoFit/>
          </a:bodyPr>
          <a:lstStyle/>
          <a:p>
            <a:pPr defTabSz="822960">
              <a:defRPr/>
            </a:pPr>
            <a:r>
              <a:rPr lang="en-US" sz="1440" b="1" err="1">
                <a:solidFill>
                  <a:srgbClr val="004080"/>
                </a:solidFill>
                <a:latin typeface="Trebuchet MS"/>
              </a:rPr>
              <a:t>Evaluierung</a:t>
            </a:r>
            <a:r>
              <a:rPr lang="en-US" sz="1440" b="1">
                <a:solidFill>
                  <a:srgbClr val="004080"/>
                </a:solidFill>
                <a:latin typeface="Trebuchet MS"/>
              </a:rPr>
              <a:t> und </a:t>
            </a:r>
            <a:r>
              <a:rPr lang="en-US" sz="1440" b="1" err="1">
                <a:solidFill>
                  <a:srgbClr val="004080"/>
                </a:solidFill>
                <a:latin typeface="Trebuchet MS"/>
              </a:rPr>
              <a:t>Feinabstimmung</a:t>
            </a:r>
            <a:endParaRPr lang="en-US" sz="1440" b="1">
              <a:solidFill>
                <a:srgbClr val="004080"/>
              </a:solidFill>
              <a:latin typeface="Trebuchet MS"/>
            </a:endParaRPr>
          </a:p>
          <a:p>
            <a:pPr marL="257176" indent="-257176" defTabSz="822960">
              <a:buFont typeface="Arial" panose="020B0604020202020204" pitchFamily="34" charset="0"/>
              <a:buChar char="•"/>
              <a:defRPr/>
            </a:pPr>
            <a:r>
              <a:rPr lang="de-DE" sz="1440">
                <a:solidFill>
                  <a:srgbClr val="000000"/>
                </a:solidFill>
                <a:latin typeface="Trebuchet MS"/>
              </a:rPr>
              <a:t>Überprüfung der Modellleistung auf Testdatensätzen</a:t>
            </a:r>
          </a:p>
          <a:p>
            <a:pPr marL="257176" indent="-257176" defTabSz="822960">
              <a:buFont typeface="Arial" panose="020B0604020202020204" pitchFamily="34" charset="0"/>
              <a:buChar char="•"/>
              <a:defRPr/>
            </a:pPr>
            <a:r>
              <a:rPr lang="de-DE" sz="1440">
                <a:solidFill>
                  <a:srgbClr val="000000"/>
                </a:solidFill>
                <a:latin typeface="Trebuchet MS"/>
              </a:rPr>
              <a:t>Feinabstimmung durch Anpassung von Hyperparametern, Architekturänderungen oder zusätzlichem Training</a:t>
            </a:r>
            <a:endParaRPr lang="en-US" sz="1440">
              <a:solidFill>
                <a:srgbClr val="000000"/>
              </a:solidFill>
              <a:latin typeface="Trebuchet MS"/>
            </a:endParaRPr>
          </a:p>
        </p:txBody>
      </p:sp>
      <p:sp>
        <p:nvSpPr>
          <p:cNvPr id="33" name="Oval 19">
            <a:extLst>
              <a:ext uri="{FF2B5EF4-FFF2-40B4-BE49-F238E27FC236}">
                <a16:creationId xmlns:a16="http://schemas.microsoft.com/office/drawing/2014/main" id="{E8F3803C-B381-B50D-01D0-3BA97FE2A5A2}"/>
              </a:ext>
            </a:extLst>
          </p:cNvPr>
          <p:cNvSpPr/>
          <p:nvPr/>
        </p:nvSpPr>
        <p:spPr>
          <a:xfrm>
            <a:off x="6245258" y="6061172"/>
            <a:ext cx="376398" cy="35001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620">
              <a:solidFill>
                <a:srgbClr val="FFFFFF"/>
              </a:solidFill>
              <a:latin typeface="Trebuchet MS"/>
            </a:endParaRPr>
          </a:p>
        </p:txBody>
      </p:sp>
      <p:sp>
        <p:nvSpPr>
          <p:cNvPr id="34" name="Textfeld 33">
            <a:extLst>
              <a:ext uri="{FF2B5EF4-FFF2-40B4-BE49-F238E27FC236}">
                <a16:creationId xmlns:a16="http://schemas.microsoft.com/office/drawing/2014/main" id="{808283BC-C6DA-6298-CDF0-36BDB246AC5F}"/>
              </a:ext>
            </a:extLst>
          </p:cNvPr>
          <p:cNvSpPr txBox="1"/>
          <p:nvPr/>
        </p:nvSpPr>
        <p:spPr>
          <a:xfrm>
            <a:off x="6731372" y="6161430"/>
            <a:ext cx="1421341" cy="178301"/>
          </a:xfrm>
          <a:prstGeom prst="rect">
            <a:avLst/>
          </a:prstGeom>
        </p:spPr>
        <p:txBody>
          <a:bodyPr vert="horz" wrap="square" lIns="0" tIns="0" rIns="0" bIns="0" rtlCol="0">
            <a:noAutofit/>
          </a:bodyPr>
          <a:lstStyle/>
          <a:p>
            <a:pPr defTabSz="822960">
              <a:defRPr/>
            </a:pPr>
            <a:r>
              <a:rPr lang="en-US" sz="990">
                <a:solidFill>
                  <a:srgbClr val="889194">
                    <a:lumMod val="75000"/>
                  </a:srgbClr>
                </a:solidFill>
                <a:latin typeface="Trebuchet MS"/>
              </a:rPr>
              <a:t>Pre-Training</a:t>
            </a:r>
          </a:p>
        </p:txBody>
      </p:sp>
      <p:sp>
        <p:nvSpPr>
          <p:cNvPr id="35" name="Oval 19">
            <a:extLst>
              <a:ext uri="{FF2B5EF4-FFF2-40B4-BE49-F238E27FC236}">
                <a16:creationId xmlns:a16="http://schemas.microsoft.com/office/drawing/2014/main" id="{87E7C034-B517-5642-5DF0-8AC35957D4F5}"/>
              </a:ext>
            </a:extLst>
          </p:cNvPr>
          <p:cNvSpPr/>
          <p:nvPr/>
        </p:nvSpPr>
        <p:spPr>
          <a:xfrm>
            <a:off x="8331280" y="6061172"/>
            <a:ext cx="376398" cy="35001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620">
              <a:solidFill>
                <a:srgbClr val="FFFFFF"/>
              </a:solidFill>
              <a:latin typeface="Trebuchet MS"/>
            </a:endParaRPr>
          </a:p>
        </p:txBody>
      </p:sp>
      <p:sp>
        <p:nvSpPr>
          <p:cNvPr id="36" name="Textfeld 35">
            <a:extLst>
              <a:ext uri="{FF2B5EF4-FFF2-40B4-BE49-F238E27FC236}">
                <a16:creationId xmlns:a16="http://schemas.microsoft.com/office/drawing/2014/main" id="{3AEC68B5-61AA-DA8F-034F-BCDB50AB5181}"/>
              </a:ext>
            </a:extLst>
          </p:cNvPr>
          <p:cNvSpPr txBox="1"/>
          <p:nvPr/>
        </p:nvSpPr>
        <p:spPr>
          <a:xfrm>
            <a:off x="8833688" y="6147029"/>
            <a:ext cx="1400094" cy="178301"/>
          </a:xfrm>
          <a:prstGeom prst="rect">
            <a:avLst/>
          </a:prstGeom>
        </p:spPr>
        <p:txBody>
          <a:bodyPr vert="horz" wrap="square" lIns="0" tIns="0" rIns="0" bIns="0" rtlCol="0">
            <a:noAutofit/>
          </a:bodyPr>
          <a:lstStyle/>
          <a:p>
            <a:pPr defTabSz="822960">
              <a:defRPr/>
            </a:pPr>
            <a:r>
              <a:rPr lang="en-US" sz="990">
                <a:solidFill>
                  <a:srgbClr val="889194">
                    <a:lumMod val="75000"/>
                  </a:srgbClr>
                </a:solidFill>
                <a:latin typeface="Trebuchet MS"/>
              </a:rPr>
              <a:t>Training</a:t>
            </a:r>
          </a:p>
        </p:txBody>
      </p:sp>
      <p:sp>
        <p:nvSpPr>
          <p:cNvPr id="37" name="Textfeld 36">
            <a:extLst>
              <a:ext uri="{FF2B5EF4-FFF2-40B4-BE49-F238E27FC236}">
                <a16:creationId xmlns:a16="http://schemas.microsoft.com/office/drawing/2014/main" id="{174B83B7-A4E1-86FF-3EF9-DB2DEFB03A0F}"/>
              </a:ext>
            </a:extLst>
          </p:cNvPr>
          <p:cNvSpPr txBox="1"/>
          <p:nvPr/>
        </p:nvSpPr>
        <p:spPr>
          <a:xfrm>
            <a:off x="5482385" y="6157363"/>
            <a:ext cx="762871" cy="186434"/>
          </a:xfrm>
          <a:prstGeom prst="rect">
            <a:avLst/>
          </a:prstGeom>
        </p:spPr>
        <p:txBody>
          <a:bodyPr vert="horz" wrap="square" lIns="0" tIns="0" rIns="0" bIns="0" rtlCol="0">
            <a:noAutofit/>
          </a:bodyPr>
          <a:lstStyle/>
          <a:p>
            <a:pPr defTabSz="822960">
              <a:defRPr/>
            </a:pPr>
            <a:r>
              <a:rPr lang="en-US" sz="1080" i="1" err="1">
                <a:solidFill>
                  <a:srgbClr val="889194">
                    <a:lumMod val="75000"/>
                  </a:srgbClr>
                </a:solidFill>
                <a:latin typeface="Trebuchet MS"/>
              </a:rPr>
              <a:t>Legende</a:t>
            </a:r>
            <a:r>
              <a:rPr lang="en-US" sz="1080" i="1">
                <a:solidFill>
                  <a:srgbClr val="889194">
                    <a:lumMod val="75000"/>
                  </a:srgbClr>
                </a:solidFill>
                <a:latin typeface="Trebuchet MS"/>
              </a:rPr>
              <a:t>:</a:t>
            </a:r>
          </a:p>
        </p:txBody>
      </p:sp>
    </p:spTree>
    <p:extLst>
      <p:ext uri="{BB962C8B-B14F-4D97-AF65-F5344CB8AC3E}">
        <p14:creationId xmlns:p14="http://schemas.microsoft.com/office/powerpoint/2010/main" val="7137787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AFA002-7736-1500-2F69-6FD3F6AA848E}"/>
              </a:ext>
            </a:extLst>
          </p:cNvPr>
          <p:cNvSpPr>
            <a:spLocks noGrp="1"/>
          </p:cNvSpPr>
          <p:nvPr>
            <p:ph type="title"/>
          </p:nvPr>
        </p:nvSpPr>
        <p:spPr>
          <a:xfrm>
            <a:off x="457200" y="457200"/>
            <a:ext cx="7386527" cy="574357"/>
          </a:xfrm>
        </p:spPr>
        <p:txBody>
          <a:bodyPr/>
          <a:lstStyle/>
          <a:p>
            <a:r>
              <a:rPr lang="en-US" dirty="0" err="1"/>
              <a:t>Welche</a:t>
            </a:r>
            <a:r>
              <a:rPr lang="en-US" dirty="0"/>
              <a:t> </a:t>
            </a:r>
            <a:r>
              <a:rPr lang="en-US" dirty="0" err="1"/>
              <a:t>Daten</a:t>
            </a:r>
            <a:r>
              <a:rPr lang="en-US" dirty="0"/>
              <a:t> </a:t>
            </a:r>
            <a:r>
              <a:rPr lang="en-US" dirty="0" err="1"/>
              <a:t>werden</a:t>
            </a:r>
            <a:r>
              <a:rPr lang="en-US" dirty="0"/>
              <a:t> </a:t>
            </a:r>
            <a:r>
              <a:rPr lang="en-US" dirty="0" err="1"/>
              <a:t>zum</a:t>
            </a:r>
            <a:r>
              <a:rPr lang="en-US" dirty="0"/>
              <a:t> </a:t>
            </a:r>
            <a:r>
              <a:rPr lang="en-US" dirty="0" err="1"/>
              <a:t>Trainieren</a:t>
            </a:r>
            <a:r>
              <a:rPr lang="en-US" dirty="0"/>
              <a:t> von LLMs </a:t>
            </a:r>
            <a:r>
              <a:rPr lang="en-US" dirty="0" err="1"/>
              <a:t>verwendet</a:t>
            </a:r>
            <a:r>
              <a:rPr lang="en-US" dirty="0"/>
              <a:t>?</a:t>
            </a:r>
            <a:endParaRPr lang="en-US" dirty="0">
              <a:solidFill>
                <a:schemeClr val="accent4">
                  <a:lumMod val="50000"/>
                </a:schemeClr>
              </a:solidFill>
            </a:endParaRPr>
          </a:p>
        </p:txBody>
      </p:sp>
      <p:sp>
        <p:nvSpPr>
          <p:cNvPr id="4" name="Foliennummernplatzhalter 3">
            <a:extLst>
              <a:ext uri="{FF2B5EF4-FFF2-40B4-BE49-F238E27FC236}">
                <a16:creationId xmlns:a16="http://schemas.microsoft.com/office/drawing/2014/main" id="{82BF691F-DF2D-F793-59B1-C3E49F1C4403}"/>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31</a:t>
            </a:fld>
            <a:endParaRPr lang="en-US" sz="810">
              <a:solidFill>
                <a:srgbClr val="889194"/>
              </a:solidFill>
              <a:latin typeface="Trebuchet MS"/>
            </a:endParaRPr>
          </a:p>
        </p:txBody>
      </p:sp>
      <p:sp>
        <p:nvSpPr>
          <p:cNvPr id="6" name="Inhaltsplatzhalter 5">
            <a:extLst>
              <a:ext uri="{FF2B5EF4-FFF2-40B4-BE49-F238E27FC236}">
                <a16:creationId xmlns:a16="http://schemas.microsoft.com/office/drawing/2014/main" id="{9E90CB3C-CC92-92AB-DD53-F57889A5E67B}"/>
              </a:ext>
            </a:extLst>
          </p:cNvPr>
          <p:cNvSpPr>
            <a:spLocks noGrp="1"/>
          </p:cNvSpPr>
          <p:nvPr>
            <p:ph sz="quarter" idx="17"/>
          </p:nvPr>
        </p:nvSpPr>
        <p:spPr/>
        <p:txBody>
          <a:bodyPr/>
          <a:lstStyle/>
          <a:p>
            <a:r>
              <a:rPr lang="en-US"/>
              <a:t>https://www.washingtonpost.com/technology/interactive/2023/ai-chatbot-learning/</a:t>
            </a:r>
          </a:p>
        </p:txBody>
      </p:sp>
      <p:pic>
        <p:nvPicPr>
          <p:cNvPr id="8" name="Grafik 7">
            <a:extLst>
              <a:ext uri="{FF2B5EF4-FFF2-40B4-BE49-F238E27FC236}">
                <a16:creationId xmlns:a16="http://schemas.microsoft.com/office/drawing/2014/main" id="{BE06F2F8-399A-59CD-231A-B72E589E31D7}"/>
              </a:ext>
            </a:extLst>
          </p:cNvPr>
          <p:cNvPicPr>
            <a:picLocks noChangeAspect="1"/>
          </p:cNvPicPr>
          <p:nvPr/>
        </p:nvPicPr>
        <p:blipFill>
          <a:blip r:embed="rId3"/>
          <a:stretch>
            <a:fillRect/>
          </a:stretch>
        </p:blipFill>
        <p:spPr>
          <a:xfrm>
            <a:off x="857936" y="1647351"/>
            <a:ext cx="10476133" cy="2417569"/>
          </a:xfrm>
          <a:prstGeom prst="rect">
            <a:avLst/>
          </a:prstGeom>
        </p:spPr>
      </p:pic>
      <p:grpSp>
        <p:nvGrpSpPr>
          <p:cNvPr id="18" name="Gruppieren 17">
            <a:extLst>
              <a:ext uri="{FF2B5EF4-FFF2-40B4-BE49-F238E27FC236}">
                <a16:creationId xmlns:a16="http://schemas.microsoft.com/office/drawing/2014/main" id="{CBD80C90-292E-695D-FABD-BA9B6CB6EDAD}"/>
              </a:ext>
            </a:extLst>
          </p:cNvPr>
          <p:cNvGrpSpPr/>
          <p:nvPr/>
        </p:nvGrpSpPr>
        <p:grpSpPr>
          <a:xfrm>
            <a:off x="1535367" y="4301074"/>
            <a:ext cx="9121267" cy="1757677"/>
            <a:chOff x="857937" y="4392032"/>
            <a:chExt cx="10134741" cy="1701051"/>
          </a:xfrm>
        </p:grpSpPr>
        <p:grpSp>
          <p:nvGrpSpPr>
            <p:cNvPr id="11" name="Gruppieren 10">
              <a:extLst>
                <a:ext uri="{FF2B5EF4-FFF2-40B4-BE49-F238E27FC236}">
                  <a16:creationId xmlns:a16="http://schemas.microsoft.com/office/drawing/2014/main" id="{1923C6BE-2732-0DAC-D424-285921645117}"/>
                </a:ext>
              </a:extLst>
            </p:cNvPr>
            <p:cNvGrpSpPr/>
            <p:nvPr/>
          </p:nvGrpSpPr>
          <p:grpSpPr>
            <a:xfrm>
              <a:off x="857937" y="4392032"/>
              <a:ext cx="10134741" cy="1557918"/>
              <a:chOff x="440135" y="5388099"/>
              <a:chExt cx="8833345" cy="582216"/>
            </a:xfrm>
            <a:effectLst/>
          </p:grpSpPr>
          <p:sp>
            <p:nvSpPr>
              <p:cNvPr id="12" name="Rechteck 11">
                <a:extLst>
                  <a:ext uri="{FF2B5EF4-FFF2-40B4-BE49-F238E27FC236}">
                    <a16:creationId xmlns:a16="http://schemas.microsoft.com/office/drawing/2014/main" id="{7896F14C-D2C1-E8C9-DDEF-3BEF2F694964}"/>
                  </a:ext>
                </a:extLst>
              </p:cNvPr>
              <p:cNvSpPr/>
              <p:nvPr/>
            </p:nvSpPr>
            <p:spPr bwMode="auto">
              <a:xfrm>
                <a:off x="440135" y="5388101"/>
                <a:ext cx="8833345" cy="582214"/>
              </a:xfrm>
              <a:prstGeom prst="rect">
                <a:avLst/>
              </a:prstGeom>
              <a:solidFill>
                <a:schemeClr val="bg1">
                  <a:lumMod val="95000"/>
                </a:schemeClr>
              </a:solidFill>
              <a:ln>
                <a:noFill/>
              </a:ln>
            </p:spPr>
            <p:txBody>
              <a:bodyPr wrap="square" lIns="324000" tIns="129600" rIns="64800" bIns="129600" rtlCol="0" anchor="ctr">
                <a:noAutofit/>
              </a:bodyPr>
              <a:lstStyle/>
              <a:p>
                <a:pPr defTabSz="822960">
                  <a:defRPr/>
                </a:pPr>
                <a:endParaRPr lang="en-US" sz="1350">
                  <a:solidFill>
                    <a:srgbClr val="000000"/>
                  </a:solidFill>
                  <a:latin typeface="Trebuchet MS"/>
                </a:endParaRPr>
              </a:p>
            </p:txBody>
          </p:sp>
          <p:sp>
            <p:nvSpPr>
              <p:cNvPr id="13" name="Rechteck 12">
                <a:extLst>
                  <a:ext uri="{FF2B5EF4-FFF2-40B4-BE49-F238E27FC236}">
                    <a16:creationId xmlns:a16="http://schemas.microsoft.com/office/drawing/2014/main" id="{E52EA1DF-1D14-E7E1-0651-5E2D0DE28C66}"/>
                  </a:ext>
                </a:extLst>
              </p:cNvPr>
              <p:cNvSpPr>
                <a:spLocks/>
              </p:cNvSpPr>
              <p:nvPr/>
            </p:nvSpPr>
            <p:spPr bwMode="auto">
              <a:xfrm>
                <a:off x="441493" y="5388100"/>
                <a:ext cx="243341" cy="582215"/>
              </a:xfrm>
              <a:prstGeom prst="rect">
                <a:avLst/>
              </a:prstGeom>
              <a:solidFill>
                <a:schemeClr val="accent4">
                  <a:lumMod val="50000"/>
                </a:schemeClr>
              </a:solidFill>
              <a:ln w="158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defTabSz="822960">
                  <a:defRPr/>
                </a:pPr>
                <a:endParaRPr lang="en-US" sz="3240">
                  <a:solidFill>
                    <a:srgbClr val="FFFFFF"/>
                  </a:solidFill>
                  <a:latin typeface="Trebuchet MS"/>
                </a:endParaRPr>
              </a:p>
            </p:txBody>
          </p:sp>
        </p:grpSp>
        <p:sp>
          <p:nvSpPr>
            <p:cNvPr id="17" name="Textfeld 16">
              <a:extLst>
                <a:ext uri="{FF2B5EF4-FFF2-40B4-BE49-F238E27FC236}">
                  <a16:creationId xmlns:a16="http://schemas.microsoft.com/office/drawing/2014/main" id="{A0EE855B-E24B-901C-BDEA-F1012E092392}"/>
                </a:ext>
              </a:extLst>
            </p:cNvPr>
            <p:cNvSpPr txBox="1"/>
            <p:nvPr/>
          </p:nvSpPr>
          <p:spPr>
            <a:xfrm>
              <a:off x="1263743" y="4535170"/>
              <a:ext cx="9556658" cy="1557913"/>
            </a:xfrm>
            <a:prstGeom prst="rect">
              <a:avLst/>
            </a:prstGeom>
          </p:spPr>
          <p:txBody>
            <a:bodyPr vert="horz" wrap="square" lIns="0" tIns="0" rIns="0" bIns="0" rtlCol="0">
              <a:noAutofit/>
            </a:bodyPr>
            <a:lstStyle/>
            <a:p>
              <a:pPr marL="257176" indent="-257176" defTabSz="822960">
                <a:buFont typeface="Arial" panose="020B0604020202020204" pitchFamily="34" charset="0"/>
                <a:buChar char="•"/>
                <a:defRPr/>
              </a:pPr>
              <a:r>
                <a:rPr lang="en-US" sz="1260">
                  <a:solidFill>
                    <a:srgbClr val="889194">
                      <a:lumMod val="75000"/>
                    </a:srgbClr>
                  </a:solidFill>
                  <a:latin typeface="Trebuchet MS"/>
                </a:rPr>
                <a:t>Der C4-Datensatz von Google </a:t>
              </a:r>
              <a:r>
                <a:rPr lang="en-US" sz="1260" err="1">
                  <a:solidFill>
                    <a:srgbClr val="889194">
                      <a:lumMod val="75000"/>
                    </a:srgbClr>
                  </a:solidFill>
                  <a:latin typeface="Trebuchet MS"/>
                </a:rPr>
                <a:t>enthält</a:t>
              </a:r>
              <a:r>
                <a:rPr lang="en-US" sz="1260">
                  <a:solidFill>
                    <a:srgbClr val="889194">
                      <a:lumMod val="75000"/>
                    </a:srgbClr>
                  </a:solidFill>
                  <a:latin typeface="Trebuchet MS"/>
                </a:rPr>
                <a:t> </a:t>
              </a:r>
              <a:r>
                <a:rPr lang="en-US" sz="1260" err="1">
                  <a:solidFill>
                    <a:srgbClr val="889194">
                      <a:lumMod val="75000"/>
                    </a:srgbClr>
                  </a:solidFill>
                  <a:latin typeface="Trebuchet MS"/>
                </a:rPr>
                <a:t>eine</a:t>
              </a:r>
              <a:r>
                <a:rPr lang="en-US" sz="1260">
                  <a:solidFill>
                    <a:srgbClr val="889194">
                      <a:lumMod val="75000"/>
                    </a:srgbClr>
                  </a:solidFill>
                  <a:latin typeface="Trebuchet MS"/>
                </a:rPr>
                <a:t> </a:t>
              </a:r>
              <a:r>
                <a:rPr lang="en-US" sz="1260" err="1">
                  <a:solidFill>
                    <a:srgbClr val="889194">
                      <a:lumMod val="75000"/>
                    </a:srgbClr>
                  </a:solidFill>
                  <a:latin typeface="Trebuchet MS"/>
                </a:rPr>
                <a:t>Momentaufnahme</a:t>
              </a:r>
              <a:r>
                <a:rPr lang="en-US" sz="1260">
                  <a:solidFill>
                    <a:srgbClr val="889194">
                      <a:lumMod val="75000"/>
                    </a:srgbClr>
                  </a:solidFill>
                  <a:latin typeface="Trebuchet MS"/>
                </a:rPr>
                <a:t> von 15 </a:t>
              </a:r>
              <a:r>
                <a:rPr lang="en-US" sz="1260" err="1">
                  <a:solidFill>
                    <a:srgbClr val="889194">
                      <a:lumMod val="75000"/>
                    </a:srgbClr>
                  </a:solidFill>
                  <a:latin typeface="Trebuchet MS"/>
                </a:rPr>
                <a:t>Millionen</a:t>
              </a:r>
              <a:r>
                <a:rPr lang="en-US" sz="1260">
                  <a:solidFill>
                    <a:srgbClr val="889194">
                      <a:lumMod val="75000"/>
                    </a:srgbClr>
                  </a:solidFill>
                  <a:latin typeface="Trebuchet MS"/>
                </a:rPr>
                <a:t> Websites, die </a:t>
              </a:r>
              <a:r>
                <a:rPr lang="en-US" sz="1260" err="1">
                  <a:solidFill>
                    <a:srgbClr val="889194">
                      <a:lumMod val="75000"/>
                    </a:srgbClr>
                  </a:solidFill>
                  <a:latin typeface="Trebuchet MS"/>
                </a:rPr>
                <a:t>zum</a:t>
              </a:r>
              <a:r>
                <a:rPr lang="en-US" sz="1260">
                  <a:solidFill>
                    <a:srgbClr val="889194">
                      <a:lumMod val="75000"/>
                    </a:srgbClr>
                  </a:solidFill>
                  <a:latin typeface="Trebuchet MS"/>
                </a:rPr>
                <a:t> Training von LLMs </a:t>
              </a:r>
              <a:r>
                <a:rPr lang="en-US" sz="1260" err="1">
                  <a:solidFill>
                    <a:srgbClr val="889194">
                      <a:lumMod val="75000"/>
                    </a:srgbClr>
                  </a:solidFill>
                  <a:latin typeface="Trebuchet MS"/>
                </a:rPr>
                <a:t>wie</a:t>
              </a:r>
              <a:r>
                <a:rPr lang="en-US" sz="1260">
                  <a:solidFill>
                    <a:srgbClr val="889194">
                      <a:lumMod val="75000"/>
                    </a:srgbClr>
                  </a:solidFill>
                  <a:latin typeface="Trebuchet MS"/>
                </a:rPr>
                <a:t> Facebooks </a:t>
              </a:r>
              <a:r>
                <a:rPr lang="en-US" sz="1260" err="1">
                  <a:solidFill>
                    <a:srgbClr val="889194">
                      <a:lumMod val="75000"/>
                    </a:srgbClr>
                  </a:solidFill>
                  <a:latin typeface="Trebuchet MS"/>
                </a:rPr>
                <a:t>LLaMA</a:t>
              </a:r>
              <a:r>
                <a:rPr lang="en-US" sz="1260">
                  <a:solidFill>
                    <a:srgbClr val="889194">
                      <a:lumMod val="75000"/>
                    </a:srgbClr>
                  </a:solidFill>
                  <a:latin typeface="Trebuchet MS"/>
                </a:rPr>
                <a:t> </a:t>
              </a:r>
              <a:r>
                <a:rPr lang="en-US" sz="1260" err="1">
                  <a:solidFill>
                    <a:srgbClr val="889194">
                      <a:lumMod val="75000"/>
                    </a:srgbClr>
                  </a:solidFill>
                  <a:latin typeface="Trebuchet MS"/>
                </a:rPr>
                <a:t>verwendet</a:t>
              </a:r>
              <a:r>
                <a:rPr lang="en-US" sz="1260">
                  <a:solidFill>
                    <a:srgbClr val="889194">
                      <a:lumMod val="75000"/>
                    </a:srgbClr>
                  </a:solidFill>
                  <a:latin typeface="Trebuchet MS"/>
                </a:rPr>
                <a:t> </a:t>
              </a:r>
              <a:r>
                <a:rPr lang="en-US" sz="1260" err="1">
                  <a:solidFill>
                    <a:srgbClr val="889194">
                      <a:lumMod val="75000"/>
                    </a:srgbClr>
                  </a:solidFill>
                  <a:latin typeface="Trebuchet MS"/>
                </a:rPr>
                <a:t>werden</a:t>
              </a:r>
              <a:r>
                <a:rPr lang="en-US" sz="1260">
                  <a:solidFill>
                    <a:srgbClr val="889194">
                      <a:lumMod val="75000"/>
                    </a:srgbClr>
                  </a:solidFill>
                  <a:latin typeface="Trebuchet MS"/>
                </a:rPr>
                <a:t>.</a:t>
              </a:r>
            </a:p>
            <a:p>
              <a:pPr marL="257176" indent="-257176" defTabSz="822960">
                <a:buFont typeface="Arial" panose="020B0604020202020204" pitchFamily="34" charset="0"/>
                <a:buChar char="•"/>
                <a:defRPr/>
              </a:pPr>
              <a:r>
                <a:rPr lang="en-US" sz="1260">
                  <a:solidFill>
                    <a:srgbClr val="889194">
                      <a:lumMod val="75000"/>
                    </a:srgbClr>
                  </a:solidFill>
                  <a:latin typeface="Trebuchet MS"/>
                </a:rPr>
                <a:t>Die </a:t>
              </a:r>
              <a:r>
                <a:rPr lang="en-US" sz="1260" err="1">
                  <a:solidFill>
                    <a:srgbClr val="889194">
                      <a:lumMod val="75000"/>
                    </a:srgbClr>
                  </a:solidFill>
                  <a:latin typeface="Trebuchet MS"/>
                </a:rPr>
                <a:t>drei</a:t>
              </a:r>
              <a:r>
                <a:rPr lang="en-US" sz="1260">
                  <a:solidFill>
                    <a:srgbClr val="889194">
                      <a:lumMod val="75000"/>
                    </a:srgbClr>
                  </a:solidFill>
                  <a:latin typeface="Trebuchet MS"/>
                </a:rPr>
                <a:t> </a:t>
              </a:r>
              <a:r>
                <a:rPr lang="en-US" sz="1260" err="1">
                  <a:solidFill>
                    <a:srgbClr val="889194">
                      <a:lumMod val="75000"/>
                    </a:srgbClr>
                  </a:solidFill>
                  <a:latin typeface="Trebuchet MS"/>
                </a:rPr>
                <a:t>größten</a:t>
              </a:r>
              <a:r>
                <a:rPr lang="en-US" sz="1260">
                  <a:solidFill>
                    <a:srgbClr val="889194">
                      <a:lumMod val="75000"/>
                    </a:srgbClr>
                  </a:solidFill>
                  <a:latin typeface="Trebuchet MS"/>
                </a:rPr>
                <a:t> Websites </a:t>
              </a:r>
              <a:r>
                <a:rPr lang="en-US" sz="1260" err="1">
                  <a:solidFill>
                    <a:srgbClr val="889194">
                      <a:lumMod val="75000"/>
                    </a:srgbClr>
                  </a:solidFill>
                  <a:latin typeface="Trebuchet MS"/>
                </a:rPr>
                <a:t>sind</a:t>
              </a:r>
              <a:r>
                <a:rPr lang="en-US" sz="1260">
                  <a:solidFill>
                    <a:srgbClr val="889194">
                      <a:lumMod val="75000"/>
                    </a:srgbClr>
                  </a:solidFill>
                  <a:latin typeface="Trebuchet MS"/>
                </a:rPr>
                <a:t> </a:t>
              </a:r>
              <a:r>
                <a:rPr lang="en-US" sz="1260" b="1" err="1">
                  <a:solidFill>
                    <a:srgbClr val="889194">
                      <a:lumMod val="75000"/>
                    </a:srgbClr>
                  </a:solidFill>
                  <a:latin typeface="Trebuchet MS"/>
                </a:rPr>
                <a:t>patents.google.com</a:t>
              </a:r>
              <a:r>
                <a:rPr lang="en-US" sz="1260">
                  <a:solidFill>
                    <a:srgbClr val="889194">
                      <a:lumMod val="75000"/>
                    </a:srgbClr>
                  </a:solidFill>
                  <a:latin typeface="Trebuchet MS"/>
                </a:rPr>
                <a:t>, </a:t>
              </a:r>
              <a:r>
                <a:rPr lang="en-US" sz="1260" b="1" err="1">
                  <a:solidFill>
                    <a:srgbClr val="889194">
                      <a:lumMod val="75000"/>
                    </a:srgbClr>
                  </a:solidFill>
                  <a:latin typeface="Trebuchet MS"/>
                </a:rPr>
                <a:t>Wikipedia.org</a:t>
              </a:r>
              <a:r>
                <a:rPr lang="en-US" sz="1260">
                  <a:solidFill>
                    <a:srgbClr val="889194">
                      <a:lumMod val="75000"/>
                    </a:srgbClr>
                  </a:solidFill>
                  <a:latin typeface="Trebuchet MS"/>
                </a:rPr>
                <a:t> und </a:t>
              </a:r>
              <a:r>
                <a:rPr lang="en-US" sz="1260" b="1" err="1">
                  <a:solidFill>
                    <a:srgbClr val="889194">
                      <a:lumMod val="75000"/>
                    </a:srgbClr>
                  </a:solidFill>
                  <a:latin typeface="Trebuchet MS"/>
                </a:rPr>
                <a:t>scribd.com</a:t>
              </a:r>
              <a:endParaRPr lang="en-US" sz="1260" b="1">
                <a:solidFill>
                  <a:srgbClr val="889194">
                    <a:lumMod val="75000"/>
                  </a:srgbClr>
                </a:solidFill>
                <a:latin typeface="Trebuchet MS"/>
              </a:endParaRPr>
            </a:p>
            <a:p>
              <a:pPr marL="257176" indent="-257176" defTabSz="822960">
                <a:buFont typeface="Arial" panose="020B0604020202020204" pitchFamily="34" charset="0"/>
                <a:buChar char="•"/>
                <a:defRPr/>
              </a:pPr>
              <a:r>
                <a:rPr lang="en-US" sz="1260" err="1">
                  <a:solidFill>
                    <a:srgbClr val="889194">
                      <a:lumMod val="75000"/>
                    </a:srgbClr>
                  </a:solidFill>
                  <a:latin typeface="Trebuchet MS"/>
                </a:rPr>
                <a:t>Soziale</a:t>
              </a:r>
              <a:r>
                <a:rPr lang="en-US" sz="1260">
                  <a:solidFill>
                    <a:srgbClr val="889194">
                      <a:lumMod val="75000"/>
                    </a:srgbClr>
                  </a:solidFill>
                  <a:latin typeface="Trebuchet MS"/>
                </a:rPr>
                <a:t> </a:t>
              </a:r>
              <a:r>
                <a:rPr lang="en-US" sz="1260" err="1">
                  <a:solidFill>
                    <a:srgbClr val="889194">
                      <a:lumMod val="75000"/>
                    </a:srgbClr>
                  </a:solidFill>
                  <a:latin typeface="Trebuchet MS"/>
                </a:rPr>
                <a:t>Netzwerke</a:t>
              </a:r>
              <a:r>
                <a:rPr lang="en-US" sz="1260">
                  <a:solidFill>
                    <a:srgbClr val="889194">
                      <a:lumMod val="75000"/>
                    </a:srgbClr>
                  </a:solidFill>
                  <a:latin typeface="Trebuchet MS"/>
                </a:rPr>
                <a:t> </a:t>
              </a:r>
              <a:r>
                <a:rPr lang="en-US" sz="1260" err="1">
                  <a:solidFill>
                    <a:srgbClr val="889194">
                      <a:lumMod val="75000"/>
                    </a:srgbClr>
                  </a:solidFill>
                  <a:latin typeface="Trebuchet MS"/>
                </a:rPr>
                <a:t>wie</a:t>
              </a:r>
              <a:r>
                <a:rPr lang="en-US" sz="1260">
                  <a:solidFill>
                    <a:srgbClr val="889194">
                      <a:lumMod val="75000"/>
                    </a:srgbClr>
                  </a:solidFill>
                  <a:latin typeface="Trebuchet MS"/>
                </a:rPr>
                <a:t> Facebook </a:t>
              </a:r>
              <a:r>
                <a:rPr lang="en-US" sz="1260" err="1">
                  <a:solidFill>
                    <a:srgbClr val="889194">
                      <a:lumMod val="75000"/>
                    </a:srgbClr>
                  </a:solidFill>
                  <a:latin typeface="Trebuchet MS"/>
                </a:rPr>
                <a:t>oder</a:t>
              </a:r>
              <a:r>
                <a:rPr lang="en-US" sz="1260">
                  <a:solidFill>
                    <a:srgbClr val="889194">
                      <a:lumMod val="75000"/>
                    </a:srgbClr>
                  </a:solidFill>
                  <a:latin typeface="Trebuchet MS"/>
                </a:rPr>
                <a:t> Twitter warden </a:t>
              </a:r>
              <a:r>
                <a:rPr lang="en-US" sz="1260" err="1">
                  <a:solidFill>
                    <a:srgbClr val="889194">
                      <a:lumMod val="75000"/>
                    </a:srgbClr>
                  </a:solidFill>
                  <a:latin typeface="Trebuchet MS"/>
                </a:rPr>
                <a:t>nicht</a:t>
              </a:r>
              <a:r>
                <a:rPr lang="en-US" sz="1260">
                  <a:solidFill>
                    <a:srgbClr val="889194">
                      <a:lumMod val="75000"/>
                    </a:srgbClr>
                  </a:solidFill>
                  <a:latin typeface="Trebuchet MS"/>
                </a:rPr>
                <a:t> </a:t>
              </a:r>
              <a:r>
                <a:rPr lang="en-US" sz="1260" err="1">
                  <a:solidFill>
                    <a:srgbClr val="889194">
                      <a:lumMod val="75000"/>
                    </a:srgbClr>
                  </a:solidFill>
                  <a:latin typeface="Trebuchet MS"/>
                </a:rPr>
                <a:t>genutzt</a:t>
              </a:r>
              <a:endParaRPr lang="en-US" sz="1260">
                <a:solidFill>
                  <a:srgbClr val="889194">
                    <a:lumMod val="75000"/>
                  </a:srgbClr>
                </a:solidFill>
                <a:latin typeface="Trebuchet MS"/>
              </a:endParaRPr>
            </a:p>
            <a:p>
              <a:pPr marL="257176" indent="-257176" defTabSz="822960">
                <a:buFont typeface="Arial" panose="020B0604020202020204" pitchFamily="34" charset="0"/>
                <a:buChar char="•"/>
                <a:defRPr/>
              </a:pPr>
              <a:r>
                <a:rPr lang="en-US" sz="1260">
                  <a:solidFill>
                    <a:srgbClr val="889194">
                      <a:lumMod val="75000"/>
                    </a:srgbClr>
                  </a:solidFill>
                  <a:latin typeface="Trebuchet MS"/>
                </a:rPr>
                <a:t>Filter </a:t>
              </a:r>
              <a:r>
                <a:rPr lang="en-US" sz="1260" err="1">
                  <a:solidFill>
                    <a:srgbClr val="889194">
                      <a:lumMod val="75000"/>
                    </a:srgbClr>
                  </a:solidFill>
                  <a:latin typeface="Trebuchet MS"/>
                </a:rPr>
                <a:t>entfernen</a:t>
              </a:r>
              <a:r>
                <a:rPr lang="en-US" sz="1260">
                  <a:solidFill>
                    <a:srgbClr val="889194">
                      <a:lumMod val="75000"/>
                    </a:srgbClr>
                  </a:solidFill>
                  <a:latin typeface="Trebuchet MS"/>
                </a:rPr>
                <a:t> “</a:t>
              </a:r>
              <a:r>
                <a:rPr lang="en-US" sz="1260" b="1" err="1">
                  <a:solidFill>
                    <a:srgbClr val="889194">
                      <a:lumMod val="75000"/>
                    </a:srgbClr>
                  </a:solidFill>
                  <a:latin typeface="Trebuchet MS"/>
                </a:rPr>
                <a:t>schmutzigen</a:t>
              </a:r>
              <a:r>
                <a:rPr lang="en-US" sz="1260" b="1">
                  <a:solidFill>
                    <a:srgbClr val="889194">
                      <a:lumMod val="75000"/>
                    </a:srgbClr>
                  </a:solidFill>
                  <a:latin typeface="Trebuchet MS"/>
                </a:rPr>
                <a:t>, </a:t>
              </a:r>
              <a:r>
                <a:rPr lang="en-US" sz="1260" b="1" err="1">
                  <a:solidFill>
                    <a:srgbClr val="889194">
                      <a:lumMod val="75000"/>
                    </a:srgbClr>
                  </a:solidFill>
                  <a:latin typeface="Trebuchet MS"/>
                </a:rPr>
                <a:t>unanständigen</a:t>
              </a:r>
              <a:r>
                <a:rPr lang="en-US" sz="1260" b="1">
                  <a:solidFill>
                    <a:srgbClr val="889194">
                      <a:lumMod val="75000"/>
                    </a:srgbClr>
                  </a:solidFill>
                  <a:latin typeface="Trebuchet MS"/>
                </a:rPr>
                <a:t>, </a:t>
              </a:r>
              <a:r>
                <a:rPr lang="en-US" sz="1260" b="1" err="1">
                  <a:solidFill>
                    <a:srgbClr val="889194">
                      <a:lumMod val="75000"/>
                    </a:srgbClr>
                  </a:solidFill>
                  <a:latin typeface="Trebuchet MS"/>
                </a:rPr>
                <a:t>obszönen</a:t>
              </a:r>
              <a:r>
                <a:rPr lang="en-US" sz="1260" b="1">
                  <a:solidFill>
                    <a:srgbClr val="889194">
                      <a:lumMod val="75000"/>
                    </a:srgbClr>
                  </a:solidFill>
                  <a:latin typeface="Trebuchet MS"/>
                </a:rPr>
                <a:t> und </a:t>
              </a:r>
              <a:r>
                <a:rPr lang="en-US" sz="1260" b="1" err="1">
                  <a:solidFill>
                    <a:srgbClr val="889194">
                      <a:lumMod val="75000"/>
                    </a:srgbClr>
                  </a:solidFill>
                  <a:latin typeface="Trebuchet MS"/>
                </a:rPr>
                <a:t>schädlichen</a:t>
              </a:r>
              <a:r>
                <a:rPr lang="en-US" sz="1260" b="1">
                  <a:solidFill>
                    <a:srgbClr val="889194">
                      <a:lumMod val="75000"/>
                    </a:srgbClr>
                  </a:solidFill>
                  <a:latin typeface="Trebuchet MS"/>
                </a:rPr>
                <a:t> </a:t>
              </a:r>
              <a:r>
                <a:rPr lang="en-US" sz="1260" b="1" err="1">
                  <a:solidFill>
                    <a:srgbClr val="889194">
                      <a:lumMod val="75000"/>
                    </a:srgbClr>
                  </a:solidFill>
                  <a:latin typeface="Trebuchet MS"/>
                </a:rPr>
                <a:t>Inhalt</a:t>
              </a:r>
              <a:r>
                <a:rPr lang="en-US" sz="1260">
                  <a:solidFill>
                    <a:srgbClr val="889194">
                      <a:lumMod val="75000"/>
                    </a:srgbClr>
                  </a:solidFill>
                  <a:latin typeface="Trebuchet MS"/>
                </a:rPr>
                <a:t>”, </a:t>
              </a:r>
              <a:r>
                <a:rPr lang="en-US" sz="1260" err="1">
                  <a:solidFill>
                    <a:srgbClr val="889194">
                      <a:lumMod val="75000"/>
                    </a:srgbClr>
                  </a:solidFill>
                  <a:latin typeface="Trebuchet MS"/>
                </a:rPr>
                <a:t>jedoch</a:t>
              </a:r>
              <a:r>
                <a:rPr lang="en-US" sz="1260">
                  <a:solidFill>
                    <a:srgbClr val="889194">
                      <a:lumMod val="75000"/>
                    </a:srgbClr>
                  </a:solidFill>
                  <a:latin typeface="Trebuchet MS"/>
                </a:rPr>
                <a:t> </a:t>
              </a:r>
              <a:r>
                <a:rPr lang="en-US" sz="1260" err="1">
                  <a:solidFill>
                    <a:srgbClr val="889194">
                      <a:lumMod val="75000"/>
                    </a:srgbClr>
                  </a:solidFill>
                  <a:latin typeface="Trebuchet MS"/>
                </a:rPr>
                <a:t>bleiben</a:t>
              </a:r>
              <a:r>
                <a:rPr lang="en-US" sz="1260">
                  <a:solidFill>
                    <a:srgbClr val="889194">
                      <a:lumMod val="75000"/>
                    </a:srgbClr>
                  </a:solidFill>
                  <a:latin typeface="Trebuchet MS"/>
                </a:rPr>
                <a:t> </a:t>
              </a:r>
              <a:r>
                <a:rPr lang="en-US" sz="1260" err="1">
                  <a:solidFill>
                    <a:srgbClr val="889194">
                      <a:lumMod val="75000"/>
                    </a:srgbClr>
                  </a:solidFill>
                  <a:latin typeface="Trebuchet MS"/>
                </a:rPr>
                <a:t>einige</a:t>
              </a:r>
              <a:r>
                <a:rPr lang="en-US" sz="1260">
                  <a:solidFill>
                    <a:srgbClr val="889194">
                      <a:lumMod val="75000"/>
                    </a:srgbClr>
                  </a:solidFill>
                  <a:latin typeface="Trebuchet MS"/>
                </a:rPr>
                <a:t> </a:t>
              </a:r>
              <a:r>
                <a:rPr lang="en-US" sz="1260" err="1">
                  <a:solidFill>
                    <a:srgbClr val="889194">
                      <a:lumMod val="75000"/>
                    </a:srgbClr>
                  </a:solidFill>
                  <a:latin typeface="Trebuchet MS"/>
                </a:rPr>
                <a:t>beunruhigende</a:t>
              </a:r>
              <a:r>
                <a:rPr lang="en-US" sz="1260">
                  <a:solidFill>
                    <a:srgbClr val="889194">
                      <a:lumMod val="75000"/>
                    </a:srgbClr>
                  </a:solidFill>
                  <a:latin typeface="Trebuchet MS"/>
                </a:rPr>
                <a:t> </a:t>
              </a:r>
              <a:r>
                <a:rPr lang="en-US" sz="1260" err="1">
                  <a:solidFill>
                    <a:srgbClr val="889194">
                      <a:lumMod val="75000"/>
                    </a:srgbClr>
                  </a:solidFill>
                  <a:latin typeface="Trebuchet MS"/>
                </a:rPr>
                <a:t>Quellen</a:t>
              </a:r>
              <a:r>
                <a:rPr lang="en-US" sz="1260">
                  <a:solidFill>
                    <a:srgbClr val="889194">
                      <a:lumMod val="75000"/>
                    </a:srgbClr>
                  </a:solidFill>
                  <a:latin typeface="Trebuchet MS"/>
                </a:rPr>
                <a:t> </a:t>
              </a:r>
              <a:r>
                <a:rPr lang="en-US" sz="1260" err="1">
                  <a:solidFill>
                    <a:srgbClr val="889194">
                      <a:lumMod val="75000"/>
                    </a:srgbClr>
                  </a:solidFill>
                  <a:latin typeface="Trebuchet MS"/>
                </a:rPr>
                <a:t>bestehen</a:t>
              </a:r>
              <a:r>
                <a:rPr lang="en-US" sz="1260">
                  <a:solidFill>
                    <a:srgbClr val="889194">
                      <a:lumMod val="75000"/>
                    </a:srgbClr>
                  </a:solidFill>
                  <a:latin typeface="Trebuchet MS"/>
                </a:rPr>
                <a:t> (</a:t>
              </a:r>
              <a:r>
                <a:rPr lang="en-US" sz="1260" err="1">
                  <a:solidFill>
                    <a:srgbClr val="889194">
                      <a:lumMod val="75000"/>
                    </a:srgbClr>
                  </a:solidFill>
                  <a:latin typeface="Trebuchet MS"/>
                </a:rPr>
                <a:t>z.B.</a:t>
              </a:r>
              <a:r>
                <a:rPr lang="en-US" sz="1260">
                  <a:solidFill>
                    <a:srgbClr val="889194">
                      <a:lumMod val="75000"/>
                    </a:srgbClr>
                  </a:solidFill>
                  <a:latin typeface="Trebuchet MS"/>
                </a:rPr>
                <a:t> </a:t>
              </a:r>
              <a:r>
                <a:rPr lang="en-US" sz="1260" err="1">
                  <a:solidFill>
                    <a:srgbClr val="889194">
                      <a:lumMod val="75000"/>
                    </a:srgbClr>
                  </a:solidFill>
                  <a:latin typeface="Trebuchet MS"/>
                </a:rPr>
                <a:t>stormfront.org</a:t>
              </a:r>
              <a:r>
                <a:rPr lang="en-US" sz="1260">
                  <a:solidFill>
                    <a:srgbClr val="889194">
                      <a:lumMod val="75000"/>
                    </a:srgbClr>
                  </a:solidFill>
                  <a:latin typeface="Trebuchet MS"/>
                </a:rPr>
                <a:t> </a:t>
              </a:r>
              <a:r>
                <a:rPr lang="en-US" sz="1260" err="1">
                  <a:solidFill>
                    <a:srgbClr val="889194">
                      <a:lumMod val="75000"/>
                    </a:srgbClr>
                  </a:solidFill>
                  <a:latin typeface="Trebuchet MS"/>
                </a:rPr>
                <a:t>mit</a:t>
              </a:r>
              <a:r>
                <a:rPr lang="en-US" sz="1260">
                  <a:solidFill>
                    <a:srgbClr val="889194">
                      <a:lumMod val="75000"/>
                    </a:srgbClr>
                  </a:solidFill>
                  <a:latin typeface="Trebuchet MS"/>
                </a:rPr>
                <a:t> </a:t>
              </a:r>
              <a:r>
                <a:rPr lang="en-US" sz="1260" err="1">
                  <a:solidFill>
                    <a:srgbClr val="889194">
                      <a:lumMod val="75000"/>
                    </a:srgbClr>
                  </a:solidFill>
                  <a:latin typeface="Trebuchet MS"/>
                </a:rPr>
                <a:t>rassistischen</a:t>
              </a:r>
              <a:r>
                <a:rPr lang="en-US" sz="1260">
                  <a:solidFill>
                    <a:srgbClr val="889194">
                      <a:lumMod val="75000"/>
                    </a:srgbClr>
                  </a:solidFill>
                  <a:latin typeface="Trebuchet MS"/>
                </a:rPr>
                <a:t> und </a:t>
              </a:r>
              <a:r>
                <a:rPr lang="en-US" sz="1260" err="1">
                  <a:solidFill>
                    <a:srgbClr val="889194">
                      <a:lumMod val="75000"/>
                    </a:srgbClr>
                  </a:solidFill>
                  <a:latin typeface="Trebuchet MS"/>
                </a:rPr>
                <a:t>neonazistischen</a:t>
              </a:r>
              <a:r>
                <a:rPr lang="en-US" sz="1260">
                  <a:solidFill>
                    <a:srgbClr val="889194">
                      <a:lumMod val="75000"/>
                    </a:srgbClr>
                  </a:solidFill>
                  <a:latin typeface="Trebuchet MS"/>
                </a:rPr>
                <a:t> </a:t>
              </a:r>
              <a:r>
                <a:rPr lang="en-US" sz="1260" err="1">
                  <a:solidFill>
                    <a:srgbClr val="889194">
                      <a:lumMod val="75000"/>
                    </a:srgbClr>
                  </a:solidFill>
                  <a:latin typeface="Trebuchet MS"/>
                </a:rPr>
                <a:t>Inhalten</a:t>
              </a:r>
              <a:r>
                <a:rPr lang="en-US" sz="1260">
                  <a:solidFill>
                    <a:srgbClr val="889194">
                      <a:lumMod val="75000"/>
                    </a:srgbClr>
                  </a:solidFill>
                  <a:latin typeface="Trebuchet MS"/>
                </a:rPr>
                <a:t>)</a:t>
              </a:r>
            </a:p>
            <a:p>
              <a:pPr marL="257176" indent="-257176" defTabSz="822960">
                <a:buFont typeface="Arial" panose="020B0604020202020204" pitchFamily="34" charset="0"/>
                <a:buChar char="•"/>
                <a:defRPr/>
              </a:pPr>
              <a:r>
                <a:rPr lang="en-US" sz="1260" err="1">
                  <a:solidFill>
                    <a:srgbClr val="889194">
                      <a:lumMod val="75000"/>
                    </a:srgbClr>
                  </a:solidFill>
                  <a:latin typeface="Trebuchet MS"/>
                </a:rPr>
                <a:t>Unzuverlässige</a:t>
              </a:r>
              <a:r>
                <a:rPr lang="en-US" sz="1260">
                  <a:solidFill>
                    <a:srgbClr val="889194">
                      <a:lumMod val="75000"/>
                    </a:srgbClr>
                  </a:solidFill>
                  <a:latin typeface="Trebuchet MS"/>
                </a:rPr>
                <a:t> </a:t>
              </a:r>
              <a:r>
                <a:rPr lang="en-US" sz="1260" err="1">
                  <a:solidFill>
                    <a:srgbClr val="889194">
                      <a:lumMod val="75000"/>
                    </a:srgbClr>
                  </a:solidFill>
                  <a:latin typeface="Trebuchet MS"/>
                </a:rPr>
                <a:t>Trainingsdaten</a:t>
              </a:r>
              <a:r>
                <a:rPr lang="en-US" sz="1260">
                  <a:solidFill>
                    <a:srgbClr val="889194">
                      <a:lumMod val="75000"/>
                    </a:srgbClr>
                  </a:solidFill>
                  <a:latin typeface="Trebuchet MS"/>
                </a:rPr>
                <a:t> </a:t>
              </a:r>
              <a:r>
                <a:rPr lang="en-US" sz="1260" err="1">
                  <a:solidFill>
                    <a:srgbClr val="889194">
                      <a:lumMod val="75000"/>
                    </a:srgbClr>
                  </a:solidFill>
                  <a:latin typeface="Trebuchet MS"/>
                </a:rPr>
                <a:t>können</a:t>
              </a:r>
              <a:r>
                <a:rPr lang="en-US" sz="1260">
                  <a:solidFill>
                    <a:srgbClr val="889194">
                      <a:lumMod val="75000"/>
                    </a:srgbClr>
                  </a:solidFill>
                  <a:latin typeface="Trebuchet MS"/>
                </a:rPr>
                <a:t> </a:t>
              </a:r>
              <a:r>
                <a:rPr lang="en-US" sz="1260" err="1">
                  <a:solidFill>
                    <a:srgbClr val="889194">
                      <a:lumMod val="75000"/>
                    </a:srgbClr>
                  </a:solidFill>
                  <a:latin typeface="Trebuchet MS"/>
                </a:rPr>
                <a:t>zur</a:t>
              </a:r>
              <a:r>
                <a:rPr lang="en-US" sz="1260">
                  <a:solidFill>
                    <a:srgbClr val="889194">
                      <a:lumMod val="75000"/>
                    </a:srgbClr>
                  </a:solidFill>
                  <a:latin typeface="Trebuchet MS"/>
                </a:rPr>
                <a:t> </a:t>
              </a:r>
              <a:r>
                <a:rPr lang="en-US" sz="1260" err="1">
                  <a:solidFill>
                    <a:srgbClr val="889194">
                      <a:lumMod val="75000"/>
                    </a:srgbClr>
                  </a:solidFill>
                  <a:latin typeface="Trebuchet MS"/>
                </a:rPr>
                <a:t>Verbeitung</a:t>
              </a:r>
              <a:r>
                <a:rPr lang="en-US" sz="1260">
                  <a:solidFill>
                    <a:srgbClr val="889194">
                      <a:lumMod val="75000"/>
                    </a:srgbClr>
                  </a:solidFill>
                  <a:latin typeface="Trebuchet MS"/>
                </a:rPr>
                <a:t> von </a:t>
              </a:r>
              <a:r>
                <a:rPr lang="en-US" sz="1260" b="1" err="1">
                  <a:solidFill>
                    <a:srgbClr val="889194">
                      <a:lumMod val="75000"/>
                    </a:srgbClr>
                  </a:solidFill>
                  <a:latin typeface="Trebuchet MS"/>
                </a:rPr>
                <a:t>Vorurteilen</a:t>
              </a:r>
              <a:r>
                <a:rPr lang="en-US" sz="1260">
                  <a:solidFill>
                    <a:srgbClr val="889194">
                      <a:lumMod val="75000"/>
                    </a:srgbClr>
                  </a:solidFill>
                  <a:latin typeface="Trebuchet MS"/>
                </a:rPr>
                <a:t>, </a:t>
              </a:r>
              <a:r>
                <a:rPr lang="en-US" sz="1260" b="1" err="1">
                  <a:solidFill>
                    <a:srgbClr val="889194">
                      <a:lumMod val="75000"/>
                    </a:srgbClr>
                  </a:solidFill>
                  <a:latin typeface="Trebuchet MS"/>
                </a:rPr>
                <a:t>Propagande</a:t>
              </a:r>
              <a:r>
                <a:rPr lang="en-US" sz="1260">
                  <a:solidFill>
                    <a:srgbClr val="889194">
                      <a:lumMod val="75000"/>
                    </a:srgbClr>
                  </a:solidFill>
                  <a:latin typeface="Trebuchet MS"/>
                </a:rPr>
                <a:t> &amp; </a:t>
              </a:r>
              <a:r>
                <a:rPr lang="en-US" sz="1260" b="1" err="1">
                  <a:solidFill>
                    <a:srgbClr val="889194">
                      <a:lumMod val="75000"/>
                    </a:srgbClr>
                  </a:solidFill>
                  <a:latin typeface="Trebuchet MS"/>
                </a:rPr>
                <a:t>Fehlinformation</a:t>
              </a:r>
              <a:r>
                <a:rPr lang="en-US" sz="1260">
                  <a:solidFill>
                    <a:srgbClr val="889194">
                      <a:lumMod val="75000"/>
                    </a:srgbClr>
                  </a:solidFill>
                  <a:latin typeface="Trebuchet MS"/>
                </a:rPr>
                <a:t> </a:t>
              </a:r>
              <a:r>
                <a:rPr lang="en-US" sz="1260" err="1">
                  <a:solidFill>
                    <a:srgbClr val="889194">
                      <a:lumMod val="75000"/>
                    </a:srgbClr>
                  </a:solidFill>
                  <a:latin typeface="Trebuchet MS"/>
                </a:rPr>
                <a:t>führen</a:t>
              </a:r>
              <a:endParaRPr lang="en-US" sz="1260" b="1">
                <a:solidFill>
                  <a:srgbClr val="889194">
                    <a:lumMod val="75000"/>
                  </a:srgbClr>
                </a:solidFill>
                <a:latin typeface="Trebuchet MS"/>
              </a:endParaRPr>
            </a:p>
          </p:txBody>
        </p:sp>
      </p:grpSp>
    </p:spTree>
    <p:extLst>
      <p:ext uri="{BB962C8B-B14F-4D97-AF65-F5344CB8AC3E}">
        <p14:creationId xmlns:p14="http://schemas.microsoft.com/office/powerpoint/2010/main" val="6109584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F499F4-F390-2A7F-8920-3AC9BF08C24C}"/>
              </a:ext>
            </a:extLst>
          </p:cNvPr>
          <p:cNvSpPr>
            <a:spLocks noGrp="1"/>
          </p:cNvSpPr>
          <p:nvPr>
            <p:ph type="title"/>
          </p:nvPr>
        </p:nvSpPr>
        <p:spPr/>
        <p:txBody>
          <a:bodyPr/>
          <a:lstStyle/>
          <a:p>
            <a:r>
              <a:rPr lang="de-DE"/>
              <a:t>Large Language Models basieren auf Wahrscheinlichkeiten</a:t>
            </a:r>
            <a:endParaRPr lang="en-GB"/>
          </a:p>
        </p:txBody>
      </p:sp>
      <p:sp>
        <p:nvSpPr>
          <p:cNvPr id="4" name="Foliennummernplatzhalter 3">
            <a:extLst>
              <a:ext uri="{FF2B5EF4-FFF2-40B4-BE49-F238E27FC236}">
                <a16:creationId xmlns:a16="http://schemas.microsoft.com/office/drawing/2014/main" id="{D586174C-C46A-AAC6-0A5F-8186F1892C5E}"/>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32</a:t>
            </a:fld>
            <a:endParaRPr lang="en-US" sz="810">
              <a:solidFill>
                <a:srgbClr val="889194"/>
              </a:solidFill>
              <a:latin typeface="Trebuchet MS"/>
            </a:endParaRPr>
          </a:p>
        </p:txBody>
      </p:sp>
      <p:sp>
        <p:nvSpPr>
          <p:cNvPr id="7" name="Inhaltsplatzhalter 6">
            <a:extLst>
              <a:ext uri="{FF2B5EF4-FFF2-40B4-BE49-F238E27FC236}">
                <a16:creationId xmlns:a16="http://schemas.microsoft.com/office/drawing/2014/main" id="{10A620B6-37FE-5869-BEE6-FFF470ACE71C}"/>
              </a:ext>
            </a:extLst>
          </p:cNvPr>
          <p:cNvSpPr>
            <a:spLocks noGrp="1"/>
          </p:cNvSpPr>
          <p:nvPr>
            <p:ph sz="quarter" idx="17"/>
          </p:nvPr>
        </p:nvSpPr>
        <p:spPr/>
        <p:txBody>
          <a:bodyPr/>
          <a:lstStyle/>
          <a:p>
            <a:r>
              <a:rPr lang="en-US"/>
              <a:t>© Stefan Decker, RWTH Aachen, Fraunhofer FIT</a:t>
            </a:r>
          </a:p>
        </p:txBody>
      </p:sp>
      <p:grpSp>
        <p:nvGrpSpPr>
          <p:cNvPr id="8" name="Group 181">
            <a:extLst>
              <a:ext uri="{FF2B5EF4-FFF2-40B4-BE49-F238E27FC236}">
                <a16:creationId xmlns:a16="http://schemas.microsoft.com/office/drawing/2014/main" id="{441589A8-7D2E-AC7C-DB91-B464F65C1F91}"/>
              </a:ext>
            </a:extLst>
          </p:cNvPr>
          <p:cNvGrpSpPr/>
          <p:nvPr/>
        </p:nvGrpSpPr>
        <p:grpSpPr>
          <a:xfrm>
            <a:off x="2373244" y="1799766"/>
            <a:ext cx="6806783" cy="3734731"/>
            <a:chOff x="1874027" y="833416"/>
            <a:chExt cx="9308423" cy="5107323"/>
          </a:xfrm>
        </p:grpSpPr>
        <p:sp>
          <p:nvSpPr>
            <p:cNvPr id="9" name="Oval 6">
              <a:extLst>
                <a:ext uri="{FF2B5EF4-FFF2-40B4-BE49-F238E27FC236}">
                  <a16:creationId xmlns:a16="http://schemas.microsoft.com/office/drawing/2014/main" id="{996D7C69-B140-485B-96A8-2814BBCACB40}"/>
                </a:ext>
              </a:extLst>
            </p:cNvPr>
            <p:cNvSpPr/>
            <p:nvPr/>
          </p:nvSpPr>
          <p:spPr>
            <a:xfrm>
              <a:off x="3512643" y="1960401"/>
              <a:ext cx="587424" cy="587424"/>
            </a:xfrm>
            <a:prstGeom prst="ellipse">
              <a:avLst/>
            </a:prstGeom>
            <a:gradFill>
              <a:gsLst>
                <a:gs pos="0">
                  <a:schemeClr val="tx2"/>
                </a:gs>
                <a:gs pos="100000">
                  <a:schemeClr val="bg1"/>
                </a:gs>
                <a:gs pos="100000">
                  <a:schemeClr val="bg1"/>
                </a:gs>
              </a:gsLst>
            </a:gra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0" name="Oval 9">
              <a:extLst>
                <a:ext uri="{FF2B5EF4-FFF2-40B4-BE49-F238E27FC236}">
                  <a16:creationId xmlns:a16="http://schemas.microsoft.com/office/drawing/2014/main" id="{1FD221E9-8C52-A8C1-CEE6-76E348D855AC}"/>
                </a:ext>
              </a:extLst>
            </p:cNvPr>
            <p:cNvSpPr/>
            <p:nvPr/>
          </p:nvSpPr>
          <p:spPr>
            <a:xfrm>
              <a:off x="3512643" y="2985897"/>
              <a:ext cx="587424" cy="587424"/>
            </a:xfrm>
            <a:prstGeom prst="ellipse">
              <a:avLst/>
            </a:prstGeom>
            <a:gradFill>
              <a:gsLst>
                <a:gs pos="0">
                  <a:schemeClr val="tx2"/>
                </a:gs>
                <a:gs pos="100000">
                  <a:schemeClr val="bg1"/>
                </a:gs>
                <a:gs pos="100000">
                  <a:schemeClr val="bg1"/>
                </a:gs>
              </a:gsLst>
            </a:gra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1" name="Oval 12">
              <a:extLst>
                <a:ext uri="{FF2B5EF4-FFF2-40B4-BE49-F238E27FC236}">
                  <a16:creationId xmlns:a16="http://schemas.microsoft.com/office/drawing/2014/main" id="{8248FB41-5DFB-AD84-709A-0EECDEF5D75B}"/>
                </a:ext>
              </a:extLst>
            </p:cNvPr>
            <p:cNvSpPr/>
            <p:nvPr/>
          </p:nvSpPr>
          <p:spPr>
            <a:xfrm>
              <a:off x="3512643" y="4019253"/>
              <a:ext cx="587424" cy="587424"/>
            </a:xfrm>
            <a:prstGeom prst="ellipse">
              <a:avLst/>
            </a:prstGeom>
            <a:gradFill>
              <a:gsLst>
                <a:gs pos="0">
                  <a:schemeClr val="tx2"/>
                </a:gs>
                <a:gs pos="100000">
                  <a:schemeClr val="bg1"/>
                </a:gs>
                <a:gs pos="100000">
                  <a:schemeClr val="bg1"/>
                </a:gs>
              </a:gsLst>
            </a:gra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2" name="Oval 15">
              <a:extLst>
                <a:ext uri="{FF2B5EF4-FFF2-40B4-BE49-F238E27FC236}">
                  <a16:creationId xmlns:a16="http://schemas.microsoft.com/office/drawing/2014/main" id="{CAAE2454-3A4D-D68A-5510-F5C1E27896DD}"/>
                </a:ext>
              </a:extLst>
            </p:cNvPr>
            <p:cNvSpPr/>
            <p:nvPr/>
          </p:nvSpPr>
          <p:spPr>
            <a:xfrm>
              <a:off x="6002941" y="2395425"/>
              <a:ext cx="587424" cy="587424"/>
            </a:xfrm>
            <a:prstGeom prst="ellipse">
              <a:avLst/>
            </a:prstGeom>
            <a:gradFill>
              <a:gsLst>
                <a:gs pos="0">
                  <a:schemeClr val="accent2">
                    <a:lumMod val="75000"/>
                  </a:schemeClr>
                </a:gs>
                <a:gs pos="100000">
                  <a:schemeClr val="bg1"/>
                </a:gs>
                <a:gs pos="100000">
                  <a:schemeClr val="accent1">
                    <a:shade val="94000"/>
                    <a:satMod val="135000"/>
                  </a:schemeClr>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3" name="Oval 18">
              <a:extLst>
                <a:ext uri="{FF2B5EF4-FFF2-40B4-BE49-F238E27FC236}">
                  <a16:creationId xmlns:a16="http://schemas.microsoft.com/office/drawing/2014/main" id="{A7B67AE6-D267-F9D2-6BFE-7C3320CCE2A7}"/>
                </a:ext>
              </a:extLst>
            </p:cNvPr>
            <p:cNvSpPr/>
            <p:nvPr/>
          </p:nvSpPr>
          <p:spPr>
            <a:xfrm>
              <a:off x="6013282" y="3445048"/>
              <a:ext cx="587424" cy="587424"/>
            </a:xfrm>
            <a:prstGeom prst="ellipse">
              <a:avLst/>
            </a:prstGeom>
            <a:gradFill>
              <a:gsLst>
                <a:gs pos="0">
                  <a:schemeClr val="accent2">
                    <a:lumMod val="75000"/>
                  </a:schemeClr>
                </a:gs>
                <a:gs pos="100000">
                  <a:schemeClr val="bg1"/>
                </a:gs>
                <a:gs pos="100000">
                  <a:schemeClr val="accent1">
                    <a:shade val="94000"/>
                    <a:satMod val="135000"/>
                  </a:schemeClr>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4" name="Oval 21">
              <a:extLst>
                <a:ext uri="{FF2B5EF4-FFF2-40B4-BE49-F238E27FC236}">
                  <a16:creationId xmlns:a16="http://schemas.microsoft.com/office/drawing/2014/main" id="{1A20498A-8EB0-CBE6-6B65-5B12C44F2A2B}"/>
                </a:ext>
              </a:extLst>
            </p:cNvPr>
            <p:cNvSpPr/>
            <p:nvPr/>
          </p:nvSpPr>
          <p:spPr>
            <a:xfrm>
              <a:off x="6002941" y="4454277"/>
              <a:ext cx="587424" cy="587424"/>
            </a:xfrm>
            <a:prstGeom prst="ellipse">
              <a:avLst/>
            </a:prstGeom>
            <a:gradFill>
              <a:gsLst>
                <a:gs pos="0">
                  <a:schemeClr val="accent2">
                    <a:lumMod val="75000"/>
                  </a:schemeClr>
                </a:gs>
                <a:gs pos="100000">
                  <a:schemeClr val="bg1"/>
                </a:gs>
                <a:gs pos="100000">
                  <a:schemeClr val="accent1">
                    <a:shade val="94000"/>
                    <a:satMod val="135000"/>
                  </a:schemeClr>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5" name="Oval 24">
              <a:extLst>
                <a:ext uri="{FF2B5EF4-FFF2-40B4-BE49-F238E27FC236}">
                  <a16:creationId xmlns:a16="http://schemas.microsoft.com/office/drawing/2014/main" id="{4F7410E5-1887-A31C-FAE4-B38C1E3247E4}"/>
                </a:ext>
              </a:extLst>
            </p:cNvPr>
            <p:cNvSpPr/>
            <p:nvPr/>
          </p:nvSpPr>
          <p:spPr>
            <a:xfrm>
              <a:off x="8278795" y="3420921"/>
              <a:ext cx="587424" cy="587424"/>
            </a:xfrm>
            <a:prstGeom prst="ellipse">
              <a:avLst/>
            </a:prstGeom>
            <a:gradFill>
              <a:gsLst>
                <a:gs pos="0">
                  <a:schemeClr val="accent3">
                    <a:lumMod val="75000"/>
                  </a:schemeClr>
                </a:gs>
                <a:gs pos="100000">
                  <a:schemeClr val="bg1"/>
                </a:gs>
                <a:gs pos="100000">
                  <a:schemeClr val="accent1">
                    <a:shade val="94000"/>
                    <a:satMod val="135000"/>
                  </a:schemeClr>
                </a:gs>
              </a:gsLst>
            </a:gra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cxnSp>
          <p:nvCxnSpPr>
            <p:cNvPr id="16" name="Straight Arrow Connector 30">
              <a:extLst>
                <a:ext uri="{FF2B5EF4-FFF2-40B4-BE49-F238E27FC236}">
                  <a16:creationId xmlns:a16="http://schemas.microsoft.com/office/drawing/2014/main" id="{86AFFA3F-77B3-CE58-0BC8-0F0B233102AB}"/>
                </a:ext>
              </a:extLst>
            </p:cNvPr>
            <p:cNvCxnSpPr>
              <a:cxnSpLocks/>
              <a:stCxn id="9" idx="6"/>
              <a:endCxn id="12" idx="2"/>
            </p:cNvCxnSpPr>
            <p:nvPr/>
          </p:nvCxnSpPr>
          <p:spPr>
            <a:xfrm>
              <a:off x="4100067" y="2254113"/>
              <a:ext cx="1902874" cy="43502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31">
              <a:extLst>
                <a:ext uri="{FF2B5EF4-FFF2-40B4-BE49-F238E27FC236}">
                  <a16:creationId xmlns:a16="http://schemas.microsoft.com/office/drawing/2014/main" id="{366840EA-092C-C738-2A37-59015DA1A218}"/>
                </a:ext>
              </a:extLst>
            </p:cNvPr>
            <p:cNvCxnSpPr>
              <a:cxnSpLocks/>
              <a:stCxn id="9" idx="6"/>
              <a:endCxn id="13" idx="2"/>
            </p:cNvCxnSpPr>
            <p:nvPr/>
          </p:nvCxnSpPr>
          <p:spPr>
            <a:xfrm>
              <a:off x="4100067" y="2254113"/>
              <a:ext cx="1913215" cy="1484647"/>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18" name="Straight Arrow Connector 32">
              <a:extLst>
                <a:ext uri="{FF2B5EF4-FFF2-40B4-BE49-F238E27FC236}">
                  <a16:creationId xmlns:a16="http://schemas.microsoft.com/office/drawing/2014/main" id="{8A6CA255-92BA-DABE-DCC1-A3FCC45DDC06}"/>
                </a:ext>
              </a:extLst>
            </p:cNvPr>
            <p:cNvCxnSpPr>
              <a:cxnSpLocks/>
              <a:stCxn id="9" idx="6"/>
              <a:endCxn id="14" idx="2"/>
            </p:cNvCxnSpPr>
            <p:nvPr/>
          </p:nvCxnSpPr>
          <p:spPr>
            <a:xfrm>
              <a:off x="4100067" y="2254113"/>
              <a:ext cx="1902874" cy="2493875"/>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33">
              <a:extLst>
                <a:ext uri="{FF2B5EF4-FFF2-40B4-BE49-F238E27FC236}">
                  <a16:creationId xmlns:a16="http://schemas.microsoft.com/office/drawing/2014/main" id="{0DEA1D8A-0423-CC25-D954-06654320F501}"/>
                </a:ext>
              </a:extLst>
            </p:cNvPr>
            <p:cNvCxnSpPr>
              <a:cxnSpLocks/>
              <a:stCxn id="10" idx="6"/>
              <a:endCxn id="12" idx="2"/>
            </p:cNvCxnSpPr>
            <p:nvPr/>
          </p:nvCxnSpPr>
          <p:spPr>
            <a:xfrm flipV="1">
              <a:off x="4100067" y="2689137"/>
              <a:ext cx="1902874" cy="590471"/>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0" name="Straight Arrow Connector 34">
              <a:extLst>
                <a:ext uri="{FF2B5EF4-FFF2-40B4-BE49-F238E27FC236}">
                  <a16:creationId xmlns:a16="http://schemas.microsoft.com/office/drawing/2014/main" id="{67707488-425A-AF13-CDF2-E5E5D527FAD6}"/>
                </a:ext>
              </a:extLst>
            </p:cNvPr>
            <p:cNvCxnSpPr>
              <a:stCxn id="10" idx="6"/>
              <a:endCxn id="13" idx="2"/>
            </p:cNvCxnSpPr>
            <p:nvPr/>
          </p:nvCxnSpPr>
          <p:spPr>
            <a:xfrm>
              <a:off x="4100067" y="3279609"/>
              <a:ext cx="1913215" cy="459151"/>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1" name="Straight Arrow Connector 35">
              <a:extLst>
                <a:ext uri="{FF2B5EF4-FFF2-40B4-BE49-F238E27FC236}">
                  <a16:creationId xmlns:a16="http://schemas.microsoft.com/office/drawing/2014/main" id="{3052CF2C-5759-92A8-A8CB-592CB1C3CA6E}"/>
                </a:ext>
              </a:extLst>
            </p:cNvPr>
            <p:cNvCxnSpPr>
              <a:cxnSpLocks/>
              <a:stCxn id="10" idx="6"/>
              <a:endCxn id="14" idx="2"/>
            </p:cNvCxnSpPr>
            <p:nvPr/>
          </p:nvCxnSpPr>
          <p:spPr>
            <a:xfrm>
              <a:off x="4100067" y="3279609"/>
              <a:ext cx="1902874" cy="1468380"/>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36">
              <a:extLst>
                <a:ext uri="{FF2B5EF4-FFF2-40B4-BE49-F238E27FC236}">
                  <a16:creationId xmlns:a16="http://schemas.microsoft.com/office/drawing/2014/main" id="{E904D36B-0794-F5F0-A506-16396C2F0772}"/>
                </a:ext>
              </a:extLst>
            </p:cNvPr>
            <p:cNvCxnSpPr>
              <a:cxnSpLocks/>
              <a:stCxn id="11" idx="6"/>
              <a:endCxn id="14" idx="2"/>
            </p:cNvCxnSpPr>
            <p:nvPr/>
          </p:nvCxnSpPr>
          <p:spPr>
            <a:xfrm>
              <a:off x="4100067" y="4312965"/>
              <a:ext cx="1902874" cy="43502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37">
              <a:extLst>
                <a:ext uri="{FF2B5EF4-FFF2-40B4-BE49-F238E27FC236}">
                  <a16:creationId xmlns:a16="http://schemas.microsoft.com/office/drawing/2014/main" id="{F47159BA-960D-82B5-627E-85E39230B73B}"/>
                </a:ext>
              </a:extLst>
            </p:cNvPr>
            <p:cNvCxnSpPr>
              <a:cxnSpLocks/>
              <a:stCxn id="11" idx="6"/>
              <a:endCxn id="13" idx="2"/>
            </p:cNvCxnSpPr>
            <p:nvPr/>
          </p:nvCxnSpPr>
          <p:spPr>
            <a:xfrm flipV="1">
              <a:off x="4100067" y="3738760"/>
              <a:ext cx="1913215" cy="57420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4" name="Straight Arrow Connector 38">
              <a:extLst>
                <a:ext uri="{FF2B5EF4-FFF2-40B4-BE49-F238E27FC236}">
                  <a16:creationId xmlns:a16="http://schemas.microsoft.com/office/drawing/2014/main" id="{38009C61-2D33-747F-8AA3-D5982FA27BA9}"/>
                </a:ext>
              </a:extLst>
            </p:cNvPr>
            <p:cNvCxnSpPr>
              <a:cxnSpLocks/>
              <a:stCxn id="11" idx="6"/>
              <a:endCxn id="12" idx="2"/>
            </p:cNvCxnSpPr>
            <p:nvPr/>
          </p:nvCxnSpPr>
          <p:spPr>
            <a:xfrm flipV="1">
              <a:off x="4100067" y="2689137"/>
              <a:ext cx="1902874" cy="1623827"/>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5" name="Straight Arrow Connector 51">
              <a:extLst>
                <a:ext uri="{FF2B5EF4-FFF2-40B4-BE49-F238E27FC236}">
                  <a16:creationId xmlns:a16="http://schemas.microsoft.com/office/drawing/2014/main" id="{FD33B569-36E3-DFAB-F44E-77E65FF78943}"/>
                </a:ext>
              </a:extLst>
            </p:cNvPr>
            <p:cNvCxnSpPr>
              <a:cxnSpLocks/>
              <a:endCxn id="15" idx="2"/>
            </p:cNvCxnSpPr>
            <p:nvPr/>
          </p:nvCxnSpPr>
          <p:spPr>
            <a:xfrm flipV="1">
              <a:off x="6590365" y="3714632"/>
              <a:ext cx="1688430" cy="1033356"/>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6" name="Straight Arrow Connector 52">
              <a:extLst>
                <a:ext uri="{FF2B5EF4-FFF2-40B4-BE49-F238E27FC236}">
                  <a16:creationId xmlns:a16="http://schemas.microsoft.com/office/drawing/2014/main" id="{8A0C9252-949D-0567-C518-B54F51E9C0FE}"/>
                </a:ext>
              </a:extLst>
            </p:cNvPr>
            <p:cNvCxnSpPr>
              <a:stCxn id="13" idx="6"/>
              <a:endCxn id="15" idx="2"/>
            </p:cNvCxnSpPr>
            <p:nvPr/>
          </p:nvCxnSpPr>
          <p:spPr>
            <a:xfrm flipV="1">
              <a:off x="6600706" y="3714633"/>
              <a:ext cx="1678089" cy="24127"/>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7" name="Straight Arrow Connector 53">
              <a:extLst>
                <a:ext uri="{FF2B5EF4-FFF2-40B4-BE49-F238E27FC236}">
                  <a16:creationId xmlns:a16="http://schemas.microsoft.com/office/drawing/2014/main" id="{ED9F7980-9F6D-E803-C7DD-E696EC8E0489}"/>
                </a:ext>
              </a:extLst>
            </p:cNvPr>
            <p:cNvCxnSpPr>
              <a:cxnSpLocks/>
              <a:stCxn id="12" idx="6"/>
              <a:endCxn id="15" idx="2"/>
            </p:cNvCxnSpPr>
            <p:nvPr/>
          </p:nvCxnSpPr>
          <p:spPr>
            <a:xfrm>
              <a:off x="6590365" y="2689137"/>
              <a:ext cx="1688430" cy="1025495"/>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28" name="Oval 55">
              <a:extLst>
                <a:ext uri="{FF2B5EF4-FFF2-40B4-BE49-F238E27FC236}">
                  <a16:creationId xmlns:a16="http://schemas.microsoft.com/office/drawing/2014/main" id="{033C7871-E4B0-7806-E000-6318FCD1DE0E}"/>
                </a:ext>
              </a:extLst>
            </p:cNvPr>
            <p:cNvSpPr/>
            <p:nvPr/>
          </p:nvSpPr>
          <p:spPr>
            <a:xfrm>
              <a:off x="3512643" y="5011450"/>
              <a:ext cx="587424" cy="587424"/>
            </a:xfrm>
            <a:prstGeom prst="ellipse">
              <a:avLst/>
            </a:prstGeom>
            <a:gradFill>
              <a:gsLst>
                <a:gs pos="0">
                  <a:schemeClr val="tx2"/>
                </a:gs>
                <a:gs pos="100000">
                  <a:schemeClr val="bg1"/>
                </a:gs>
                <a:gs pos="100000">
                  <a:schemeClr val="accent1">
                    <a:shade val="94000"/>
                    <a:satMod val="135000"/>
                  </a:schemeClr>
                </a:gs>
              </a:gsLst>
            </a:gra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29" name="Oval 57">
              <a:extLst>
                <a:ext uri="{FF2B5EF4-FFF2-40B4-BE49-F238E27FC236}">
                  <a16:creationId xmlns:a16="http://schemas.microsoft.com/office/drawing/2014/main" id="{7ECAED7C-4B89-BD55-4917-4DFD8FCC8482}"/>
                </a:ext>
              </a:extLst>
            </p:cNvPr>
            <p:cNvSpPr/>
            <p:nvPr/>
          </p:nvSpPr>
          <p:spPr>
            <a:xfrm>
              <a:off x="5995734" y="1500281"/>
              <a:ext cx="587424" cy="587424"/>
            </a:xfrm>
            <a:prstGeom prst="ellipse">
              <a:avLst/>
            </a:prstGeom>
            <a:gradFill>
              <a:gsLst>
                <a:gs pos="0">
                  <a:schemeClr val="accent2">
                    <a:lumMod val="75000"/>
                  </a:schemeClr>
                </a:gs>
                <a:gs pos="100000">
                  <a:schemeClr val="bg1"/>
                </a:gs>
                <a:gs pos="100000">
                  <a:schemeClr val="accent1">
                    <a:shade val="94000"/>
                    <a:satMod val="135000"/>
                  </a:schemeClr>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30" name="Oval 60">
              <a:extLst>
                <a:ext uri="{FF2B5EF4-FFF2-40B4-BE49-F238E27FC236}">
                  <a16:creationId xmlns:a16="http://schemas.microsoft.com/office/drawing/2014/main" id="{66FF4537-8B35-E6F8-C40D-C7E0F82E5278}"/>
                </a:ext>
              </a:extLst>
            </p:cNvPr>
            <p:cNvSpPr/>
            <p:nvPr/>
          </p:nvSpPr>
          <p:spPr>
            <a:xfrm>
              <a:off x="6002941" y="5353315"/>
              <a:ext cx="587424" cy="587424"/>
            </a:xfrm>
            <a:prstGeom prst="ellipse">
              <a:avLst/>
            </a:prstGeom>
            <a:gradFill>
              <a:gsLst>
                <a:gs pos="0">
                  <a:schemeClr val="accent2">
                    <a:lumMod val="75000"/>
                  </a:schemeClr>
                </a:gs>
                <a:gs pos="100000">
                  <a:schemeClr val="bg1"/>
                </a:gs>
                <a:gs pos="100000">
                  <a:schemeClr val="accent1">
                    <a:shade val="94000"/>
                    <a:satMod val="135000"/>
                  </a:schemeClr>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cxnSp>
          <p:nvCxnSpPr>
            <p:cNvPr id="31" name="Straight Arrow Connector 70">
              <a:extLst>
                <a:ext uri="{FF2B5EF4-FFF2-40B4-BE49-F238E27FC236}">
                  <a16:creationId xmlns:a16="http://schemas.microsoft.com/office/drawing/2014/main" id="{1F79C766-D47B-67EE-8D16-7F37D3D3ACAF}"/>
                </a:ext>
              </a:extLst>
            </p:cNvPr>
            <p:cNvCxnSpPr>
              <a:cxnSpLocks/>
              <a:stCxn id="9" idx="6"/>
              <a:endCxn id="29" idx="2"/>
            </p:cNvCxnSpPr>
            <p:nvPr/>
          </p:nvCxnSpPr>
          <p:spPr>
            <a:xfrm flipV="1">
              <a:off x="4100067" y="1793993"/>
              <a:ext cx="1895667" cy="460120"/>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2" name="Straight Arrow Connector 72">
              <a:extLst>
                <a:ext uri="{FF2B5EF4-FFF2-40B4-BE49-F238E27FC236}">
                  <a16:creationId xmlns:a16="http://schemas.microsoft.com/office/drawing/2014/main" id="{F504B161-0CFE-5B57-A985-B2369AF90427}"/>
                </a:ext>
              </a:extLst>
            </p:cNvPr>
            <p:cNvCxnSpPr>
              <a:cxnSpLocks/>
              <a:stCxn id="9" idx="6"/>
              <a:endCxn id="30" idx="2"/>
            </p:cNvCxnSpPr>
            <p:nvPr/>
          </p:nvCxnSpPr>
          <p:spPr>
            <a:xfrm>
              <a:off x="4100067" y="2254113"/>
              <a:ext cx="1902874" cy="339291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3" name="Straight Arrow Connector 78">
              <a:extLst>
                <a:ext uri="{FF2B5EF4-FFF2-40B4-BE49-F238E27FC236}">
                  <a16:creationId xmlns:a16="http://schemas.microsoft.com/office/drawing/2014/main" id="{94CFC9DC-A9DE-7A5F-4B1D-48368BB27574}"/>
                </a:ext>
              </a:extLst>
            </p:cNvPr>
            <p:cNvCxnSpPr>
              <a:cxnSpLocks/>
              <a:stCxn id="10" idx="6"/>
              <a:endCxn id="29" idx="2"/>
            </p:cNvCxnSpPr>
            <p:nvPr/>
          </p:nvCxnSpPr>
          <p:spPr>
            <a:xfrm flipV="1">
              <a:off x="4100067" y="1793993"/>
              <a:ext cx="1895667" cy="1485616"/>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4" name="Straight Arrow Connector 81">
              <a:extLst>
                <a:ext uri="{FF2B5EF4-FFF2-40B4-BE49-F238E27FC236}">
                  <a16:creationId xmlns:a16="http://schemas.microsoft.com/office/drawing/2014/main" id="{1BA35ADC-09DD-EE92-64DE-C80718B564CD}"/>
                </a:ext>
              </a:extLst>
            </p:cNvPr>
            <p:cNvCxnSpPr>
              <a:cxnSpLocks/>
              <a:stCxn id="10" idx="6"/>
              <a:endCxn id="30" idx="2"/>
            </p:cNvCxnSpPr>
            <p:nvPr/>
          </p:nvCxnSpPr>
          <p:spPr>
            <a:xfrm>
              <a:off x="4100067" y="3279609"/>
              <a:ext cx="1902874" cy="2367418"/>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5" name="Straight Arrow Connector 84">
              <a:extLst>
                <a:ext uri="{FF2B5EF4-FFF2-40B4-BE49-F238E27FC236}">
                  <a16:creationId xmlns:a16="http://schemas.microsoft.com/office/drawing/2014/main" id="{63FEF070-EEB9-31DC-F44B-A8708CBEECD6}"/>
                </a:ext>
              </a:extLst>
            </p:cNvPr>
            <p:cNvCxnSpPr>
              <a:cxnSpLocks/>
              <a:stCxn id="11" idx="6"/>
              <a:endCxn id="29" idx="2"/>
            </p:cNvCxnSpPr>
            <p:nvPr/>
          </p:nvCxnSpPr>
          <p:spPr>
            <a:xfrm flipV="1">
              <a:off x="4100067" y="1793993"/>
              <a:ext cx="1895667" cy="2518972"/>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6" name="Straight Arrow Connector 87">
              <a:extLst>
                <a:ext uri="{FF2B5EF4-FFF2-40B4-BE49-F238E27FC236}">
                  <a16:creationId xmlns:a16="http://schemas.microsoft.com/office/drawing/2014/main" id="{066D810E-54E0-869A-425F-51812A017549}"/>
                </a:ext>
              </a:extLst>
            </p:cNvPr>
            <p:cNvCxnSpPr>
              <a:cxnSpLocks/>
              <a:stCxn id="11" idx="6"/>
              <a:endCxn id="30" idx="2"/>
            </p:cNvCxnSpPr>
            <p:nvPr/>
          </p:nvCxnSpPr>
          <p:spPr>
            <a:xfrm>
              <a:off x="4100067" y="4312965"/>
              <a:ext cx="1902874" cy="1334062"/>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7" name="Straight Arrow Connector 97">
              <a:extLst>
                <a:ext uri="{FF2B5EF4-FFF2-40B4-BE49-F238E27FC236}">
                  <a16:creationId xmlns:a16="http://schemas.microsoft.com/office/drawing/2014/main" id="{4328E201-A9C5-30B2-F70D-10DE793E0BF7}"/>
                </a:ext>
              </a:extLst>
            </p:cNvPr>
            <p:cNvCxnSpPr>
              <a:cxnSpLocks/>
              <a:stCxn id="28" idx="6"/>
              <a:endCxn id="29" idx="2"/>
            </p:cNvCxnSpPr>
            <p:nvPr/>
          </p:nvCxnSpPr>
          <p:spPr>
            <a:xfrm flipV="1">
              <a:off x="4100067" y="1793993"/>
              <a:ext cx="1895667" cy="3511168"/>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8" name="Straight Arrow Connector 100">
              <a:extLst>
                <a:ext uri="{FF2B5EF4-FFF2-40B4-BE49-F238E27FC236}">
                  <a16:creationId xmlns:a16="http://schemas.microsoft.com/office/drawing/2014/main" id="{4EDF3F58-093F-F2D1-C457-C373183B468F}"/>
                </a:ext>
              </a:extLst>
            </p:cNvPr>
            <p:cNvCxnSpPr>
              <a:cxnSpLocks/>
              <a:stCxn id="28" idx="6"/>
              <a:endCxn id="12" idx="2"/>
            </p:cNvCxnSpPr>
            <p:nvPr/>
          </p:nvCxnSpPr>
          <p:spPr>
            <a:xfrm flipV="1">
              <a:off x="4100067" y="2689137"/>
              <a:ext cx="1902874" cy="261602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9" name="Straight Arrow Connector 104">
              <a:extLst>
                <a:ext uri="{FF2B5EF4-FFF2-40B4-BE49-F238E27FC236}">
                  <a16:creationId xmlns:a16="http://schemas.microsoft.com/office/drawing/2014/main" id="{E0D7E94A-D54D-DDEB-DFFF-C074F8F7337F}"/>
                </a:ext>
              </a:extLst>
            </p:cNvPr>
            <p:cNvCxnSpPr>
              <a:cxnSpLocks/>
              <a:stCxn id="28" idx="6"/>
              <a:endCxn id="14" idx="2"/>
            </p:cNvCxnSpPr>
            <p:nvPr/>
          </p:nvCxnSpPr>
          <p:spPr>
            <a:xfrm flipV="1">
              <a:off x="4100067" y="4747989"/>
              <a:ext cx="1902874" cy="557173"/>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40" name="Straight Arrow Connector 109">
              <a:extLst>
                <a:ext uri="{FF2B5EF4-FFF2-40B4-BE49-F238E27FC236}">
                  <a16:creationId xmlns:a16="http://schemas.microsoft.com/office/drawing/2014/main" id="{70E372FD-54DF-52C7-5AC9-4E907D1CC0D3}"/>
                </a:ext>
              </a:extLst>
            </p:cNvPr>
            <p:cNvCxnSpPr>
              <a:cxnSpLocks/>
              <a:endCxn id="15" idx="2"/>
            </p:cNvCxnSpPr>
            <p:nvPr/>
          </p:nvCxnSpPr>
          <p:spPr>
            <a:xfrm>
              <a:off x="6580152" y="1815869"/>
              <a:ext cx="1698643" cy="189876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41" name="Straight Arrow Connector 111">
              <a:extLst>
                <a:ext uri="{FF2B5EF4-FFF2-40B4-BE49-F238E27FC236}">
                  <a16:creationId xmlns:a16="http://schemas.microsoft.com/office/drawing/2014/main" id="{86CA943D-5634-8BF0-7902-98E051656134}"/>
                </a:ext>
              </a:extLst>
            </p:cNvPr>
            <p:cNvCxnSpPr>
              <a:cxnSpLocks/>
              <a:stCxn id="30" idx="6"/>
              <a:endCxn id="15" idx="2"/>
            </p:cNvCxnSpPr>
            <p:nvPr/>
          </p:nvCxnSpPr>
          <p:spPr>
            <a:xfrm flipV="1">
              <a:off x="6590365" y="3714632"/>
              <a:ext cx="1688430" cy="1932395"/>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42" name="Straight Arrow Connector 132">
              <a:extLst>
                <a:ext uri="{FF2B5EF4-FFF2-40B4-BE49-F238E27FC236}">
                  <a16:creationId xmlns:a16="http://schemas.microsoft.com/office/drawing/2014/main" id="{07588744-30F6-7743-D771-CAD5CDF41570}"/>
                </a:ext>
              </a:extLst>
            </p:cNvPr>
            <p:cNvCxnSpPr>
              <a:cxnSpLocks/>
              <a:stCxn id="28" idx="6"/>
            </p:cNvCxnSpPr>
            <p:nvPr/>
          </p:nvCxnSpPr>
          <p:spPr>
            <a:xfrm>
              <a:off x="4100067" y="5305161"/>
              <a:ext cx="1895667" cy="36599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43" name="Straight Arrow Connector 143">
              <a:extLst>
                <a:ext uri="{FF2B5EF4-FFF2-40B4-BE49-F238E27FC236}">
                  <a16:creationId xmlns:a16="http://schemas.microsoft.com/office/drawing/2014/main" id="{4A2737E7-8D5E-EB78-41C3-711FFD78E997}"/>
                </a:ext>
              </a:extLst>
            </p:cNvPr>
            <p:cNvCxnSpPr>
              <a:cxnSpLocks/>
              <a:stCxn id="28" idx="6"/>
              <a:endCxn id="13" idx="2"/>
            </p:cNvCxnSpPr>
            <p:nvPr/>
          </p:nvCxnSpPr>
          <p:spPr>
            <a:xfrm flipV="1">
              <a:off x="4100067" y="3738760"/>
              <a:ext cx="1913215" cy="1566401"/>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44" name="Rectangle: Rounded Corners 155">
              <a:extLst>
                <a:ext uri="{FF2B5EF4-FFF2-40B4-BE49-F238E27FC236}">
                  <a16:creationId xmlns:a16="http://schemas.microsoft.com/office/drawing/2014/main" id="{EB8404E6-21DA-8D92-99BE-957795FE11AB}"/>
                </a:ext>
              </a:extLst>
            </p:cNvPr>
            <p:cNvSpPr/>
            <p:nvPr/>
          </p:nvSpPr>
          <p:spPr bwMode="auto">
            <a:xfrm>
              <a:off x="1936512" y="2041646"/>
              <a:ext cx="1256596" cy="369332"/>
            </a:xfrm>
            <a:prstGeom prst="roundRect">
              <a:avLst/>
            </a:prstGeom>
            <a:noFill/>
            <a:ln w="25400">
              <a:solidFill>
                <a:schemeClr val="tx1"/>
              </a:solid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Angela</a:t>
              </a:r>
            </a:p>
          </p:txBody>
        </p:sp>
        <p:sp>
          <p:nvSpPr>
            <p:cNvPr id="45" name="Rectangle: Rounded Corners 166">
              <a:extLst>
                <a:ext uri="{FF2B5EF4-FFF2-40B4-BE49-F238E27FC236}">
                  <a16:creationId xmlns:a16="http://schemas.microsoft.com/office/drawing/2014/main" id="{222A027B-4CBE-6F67-3CED-BC8543C693C5}"/>
                </a:ext>
              </a:extLst>
            </p:cNvPr>
            <p:cNvSpPr/>
            <p:nvPr/>
          </p:nvSpPr>
          <p:spPr bwMode="auto">
            <a:xfrm>
              <a:off x="1884725" y="3083812"/>
              <a:ext cx="1256596" cy="369332"/>
            </a:xfrm>
            <a:prstGeom prst="roundRect">
              <a:avLst/>
            </a:prstGeom>
            <a:noFill/>
            <a:ln w="25400">
              <a:solidFill>
                <a:schemeClr val="tx1"/>
              </a:solid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flog</a:t>
              </a:r>
            </a:p>
          </p:txBody>
        </p:sp>
        <p:sp>
          <p:nvSpPr>
            <p:cNvPr id="46" name="Rectangle: Rounded Corners 167">
              <a:extLst>
                <a:ext uri="{FF2B5EF4-FFF2-40B4-BE49-F238E27FC236}">
                  <a16:creationId xmlns:a16="http://schemas.microsoft.com/office/drawing/2014/main" id="{94A276AB-56E3-33C3-7077-8BB2ABFD178E}"/>
                </a:ext>
              </a:extLst>
            </p:cNvPr>
            <p:cNvSpPr/>
            <p:nvPr/>
          </p:nvSpPr>
          <p:spPr bwMode="auto">
            <a:xfrm>
              <a:off x="1878448" y="4111993"/>
              <a:ext cx="1256596" cy="369332"/>
            </a:xfrm>
            <a:prstGeom prst="roundRect">
              <a:avLst/>
            </a:prstGeom>
            <a:noFill/>
            <a:ln w="25400">
              <a:solidFill>
                <a:schemeClr val="tx1"/>
              </a:solid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nach</a:t>
              </a:r>
            </a:p>
          </p:txBody>
        </p:sp>
        <p:sp>
          <p:nvSpPr>
            <p:cNvPr id="47" name="Rectangle: Rounded Corners 168">
              <a:extLst>
                <a:ext uri="{FF2B5EF4-FFF2-40B4-BE49-F238E27FC236}">
                  <a16:creationId xmlns:a16="http://schemas.microsoft.com/office/drawing/2014/main" id="{6B37CC39-31CF-7D67-66CA-0B35C2EB56DB}"/>
                </a:ext>
              </a:extLst>
            </p:cNvPr>
            <p:cNvSpPr/>
            <p:nvPr/>
          </p:nvSpPr>
          <p:spPr bwMode="auto">
            <a:xfrm>
              <a:off x="1874027" y="5229515"/>
              <a:ext cx="1256596" cy="369332"/>
            </a:xfrm>
            <a:prstGeom prst="roundRect">
              <a:avLst/>
            </a:prstGeom>
            <a:noFill/>
            <a:ln w="25400">
              <a:solidFill>
                <a:schemeClr val="tx1"/>
              </a:solid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algn="ctr" defTabSz="822960">
                <a:defRPr/>
              </a:pPr>
              <a:endParaRPr lang="de-DE" sz="1463">
                <a:solidFill>
                  <a:srgbClr val="000000"/>
                </a:solidFill>
                <a:latin typeface="Arial" panose="020B0604020202020204" pitchFamily="34" charset="0"/>
                <a:cs typeface="Arial" panose="020B0604020202020204" pitchFamily="34" charset="0"/>
              </a:endParaRPr>
            </a:p>
          </p:txBody>
        </p:sp>
        <p:sp>
          <p:nvSpPr>
            <p:cNvPr id="48" name="Rectangle: Rounded Corners 169">
              <a:extLst>
                <a:ext uri="{FF2B5EF4-FFF2-40B4-BE49-F238E27FC236}">
                  <a16:creationId xmlns:a16="http://schemas.microsoft.com/office/drawing/2014/main" id="{CC837917-28A4-B38A-33BB-F0C9B6E669AF}"/>
                </a:ext>
              </a:extLst>
            </p:cNvPr>
            <p:cNvSpPr/>
            <p:nvPr/>
          </p:nvSpPr>
          <p:spPr bwMode="auto">
            <a:xfrm>
              <a:off x="2600606" y="839498"/>
              <a:ext cx="1824073" cy="447638"/>
            </a:xfrm>
            <a:prstGeom prst="roundRect">
              <a:avLst/>
            </a:prstGeom>
            <a:noFill/>
            <a:ln w="25400">
              <a:solidFill>
                <a:schemeClr val="tx1"/>
              </a:solid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Input Layer</a:t>
              </a:r>
            </a:p>
          </p:txBody>
        </p:sp>
        <p:sp>
          <p:nvSpPr>
            <p:cNvPr id="49" name="Rectangle: Rounded Corners 170">
              <a:extLst>
                <a:ext uri="{FF2B5EF4-FFF2-40B4-BE49-F238E27FC236}">
                  <a16:creationId xmlns:a16="http://schemas.microsoft.com/office/drawing/2014/main" id="{09BABEF6-7988-192A-2749-C6643A2CCC1A}"/>
                </a:ext>
              </a:extLst>
            </p:cNvPr>
            <p:cNvSpPr/>
            <p:nvPr/>
          </p:nvSpPr>
          <p:spPr bwMode="auto">
            <a:xfrm>
              <a:off x="5288942" y="833416"/>
              <a:ext cx="2135986" cy="447638"/>
            </a:xfrm>
            <a:prstGeom prst="roundRect">
              <a:avLst/>
            </a:prstGeom>
            <a:noFill/>
            <a:ln w="25400">
              <a:solidFill>
                <a:schemeClr val="tx1"/>
              </a:solid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Hidden Layer(s)</a:t>
              </a:r>
            </a:p>
          </p:txBody>
        </p:sp>
        <p:sp>
          <p:nvSpPr>
            <p:cNvPr id="50" name="Rectangle: Rounded Corners 171">
              <a:extLst>
                <a:ext uri="{FF2B5EF4-FFF2-40B4-BE49-F238E27FC236}">
                  <a16:creationId xmlns:a16="http://schemas.microsoft.com/office/drawing/2014/main" id="{0E06435A-C315-8E5D-AC72-766E11FB2972}"/>
                </a:ext>
              </a:extLst>
            </p:cNvPr>
            <p:cNvSpPr/>
            <p:nvPr/>
          </p:nvSpPr>
          <p:spPr bwMode="auto">
            <a:xfrm>
              <a:off x="7954182" y="867854"/>
              <a:ext cx="1824073" cy="447638"/>
            </a:xfrm>
            <a:prstGeom prst="roundRect">
              <a:avLst/>
            </a:prstGeom>
            <a:noFill/>
            <a:ln w="25400">
              <a:solidFill>
                <a:schemeClr val="tx1"/>
              </a:solid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Output Layer</a:t>
              </a:r>
            </a:p>
          </p:txBody>
        </p:sp>
        <p:cxnSp>
          <p:nvCxnSpPr>
            <p:cNvPr id="51" name="Straight Arrow Connector 172">
              <a:extLst>
                <a:ext uri="{FF2B5EF4-FFF2-40B4-BE49-F238E27FC236}">
                  <a16:creationId xmlns:a16="http://schemas.microsoft.com/office/drawing/2014/main" id="{29C0F807-76D4-411F-DD12-8D9C2DB760E8}"/>
                </a:ext>
              </a:extLst>
            </p:cNvPr>
            <p:cNvCxnSpPr>
              <a:cxnSpLocks/>
              <a:endCxn id="52" idx="1"/>
            </p:cNvCxnSpPr>
            <p:nvPr/>
          </p:nvCxnSpPr>
          <p:spPr>
            <a:xfrm>
              <a:off x="8863213" y="3706698"/>
              <a:ext cx="1002858" cy="15929"/>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52" name="Rectangle: Rounded Corners 174">
              <a:extLst>
                <a:ext uri="{FF2B5EF4-FFF2-40B4-BE49-F238E27FC236}">
                  <a16:creationId xmlns:a16="http://schemas.microsoft.com/office/drawing/2014/main" id="{67FE563C-581C-8029-420E-8403CDE2868F}"/>
                </a:ext>
              </a:extLst>
            </p:cNvPr>
            <p:cNvSpPr/>
            <p:nvPr/>
          </p:nvSpPr>
          <p:spPr bwMode="auto">
            <a:xfrm>
              <a:off x="9866071" y="3498809"/>
              <a:ext cx="1316379" cy="447636"/>
            </a:xfrm>
            <a:prstGeom prst="roundRect">
              <a:avLst/>
            </a:prstGeom>
            <a:noFill/>
            <a:ln w="25400">
              <a:solidFill>
                <a:schemeClr val="tx1"/>
              </a:solid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New</a:t>
              </a:r>
            </a:p>
          </p:txBody>
        </p:sp>
      </p:grpSp>
      <p:graphicFrame>
        <p:nvGraphicFramePr>
          <p:cNvPr id="53" name="Table 228">
            <a:extLst>
              <a:ext uri="{FF2B5EF4-FFF2-40B4-BE49-F238E27FC236}">
                <a16:creationId xmlns:a16="http://schemas.microsoft.com/office/drawing/2014/main" id="{1D11D871-4C8B-DB66-F488-82F16CA2085A}"/>
              </a:ext>
            </a:extLst>
          </p:cNvPr>
          <p:cNvGraphicFramePr>
            <a:graphicFrameLocks noGrp="1"/>
          </p:cNvGraphicFramePr>
          <p:nvPr/>
        </p:nvGraphicFramePr>
        <p:xfrm>
          <a:off x="7537788" y="4226304"/>
          <a:ext cx="2170801" cy="1477636"/>
        </p:xfrm>
        <a:graphic>
          <a:graphicData uri="http://schemas.openxmlformats.org/drawingml/2006/table">
            <a:tbl>
              <a:tblPr firstRow="1" bandRow="1">
                <a:tableStyleId>{F5AB1C69-6EDB-4FF4-983F-18BD219EF322}</a:tableStyleId>
              </a:tblPr>
              <a:tblGrid>
                <a:gridCol w="672677">
                  <a:extLst>
                    <a:ext uri="{9D8B030D-6E8A-4147-A177-3AD203B41FA5}">
                      <a16:colId xmlns:a16="http://schemas.microsoft.com/office/drawing/2014/main" val="1718547932"/>
                    </a:ext>
                  </a:extLst>
                </a:gridCol>
                <a:gridCol w="1498124">
                  <a:extLst>
                    <a:ext uri="{9D8B030D-6E8A-4147-A177-3AD203B41FA5}">
                      <a16:colId xmlns:a16="http://schemas.microsoft.com/office/drawing/2014/main" val="83277281"/>
                    </a:ext>
                  </a:extLst>
                </a:gridCol>
              </a:tblGrid>
              <a:tr h="392928">
                <a:tc>
                  <a:txBody>
                    <a:bodyPr/>
                    <a:lstStyle/>
                    <a:p>
                      <a:r>
                        <a:rPr lang="de-DE" sz="1100"/>
                        <a:t>Wort</a:t>
                      </a:r>
                    </a:p>
                  </a:txBody>
                  <a:tcPr marL="66865" marR="66865" marT="33433" marB="33433"/>
                </a:tc>
                <a:tc>
                  <a:txBody>
                    <a:bodyPr/>
                    <a:lstStyle/>
                    <a:p>
                      <a:r>
                        <a:rPr lang="de-DE" sz="1100"/>
                        <a:t>Wahrscheinlichkeit</a:t>
                      </a:r>
                    </a:p>
                  </a:txBody>
                  <a:tcPr marL="66865" marR="66865" marT="33433" marB="33433"/>
                </a:tc>
                <a:extLst>
                  <a:ext uri="{0D108BD9-81ED-4DB2-BD59-A6C34878D82A}">
                    <a16:rowId xmlns:a16="http://schemas.microsoft.com/office/drawing/2014/main" val="284187893"/>
                  </a:ext>
                </a:extLst>
              </a:tr>
              <a:tr h="271177">
                <a:tc>
                  <a:txBody>
                    <a:bodyPr/>
                    <a:lstStyle/>
                    <a:p>
                      <a:r>
                        <a:rPr lang="de-DE" sz="1100"/>
                        <a:t>New</a:t>
                      </a:r>
                    </a:p>
                  </a:txBody>
                  <a:tcPr marL="66865" marR="66865" marT="33433" marB="33433"/>
                </a:tc>
                <a:tc>
                  <a:txBody>
                    <a:bodyPr/>
                    <a:lstStyle/>
                    <a:p>
                      <a:r>
                        <a:rPr lang="de-DE" sz="1100"/>
                        <a:t>35%</a:t>
                      </a:r>
                    </a:p>
                  </a:txBody>
                  <a:tcPr marL="66865" marR="66865" marT="33433" marB="33433"/>
                </a:tc>
                <a:extLst>
                  <a:ext uri="{0D108BD9-81ED-4DB2-BD59-A6C34878D82A}">
                    <a16:rowId xmlns:a16="http://schemas.microsoft.com/office/drawing/2014/main" val="662182397"/>
                  </a:ext>
                </a:extLst>
              </a:tr>
              <a:tr h="271177">
                <a:tc>
                  <a:txBody>
                    <a:bodyPr/>
                    <a:lstStyle/>
                    <a:p>
                      <a:r>
                        <a:rPr lang="de-DE" sz="1100"/>
                        <a:t>Paris</a:t>
                      </a:r>
                    </a:p>
                  </a:txBody>
                  <a:tcPr marL="66865" marR="66865" marT="33433" marB="33433"/>
                </a:tc>
                <a:tc>
                  <a:txBody>
                    <a:bodyPr/>
                    <a:lstStyle/>
                    <a:p>
                      <a:r>
                        <a:rPr lang="de-DE" sz="1100"/>
                        <a:t>10%</a:t>
                      </a:r>
                    </a:p>
                  </a:txBody>
                  <a:tcPr marL="66865" marR="66865" marT="33433" marB="33433"/>
                </a:tc>
                <a:extLst>
                  <a:ext uri="{0D108BD9-81ED-4DB2-BD59-A6C34878D82A}">
                    <a16:rowId xmlns:a16="http://schemas.microsoft.com/office/drawing/2014/main" val="3043840586"/>
                  </a:ext>
                </a:extLst>
              </a:tr>
              <a:tr h="271177">
                <a:tc>
                  <a:txBody>
                    <a:bodyPr/>
                    <a:lstStyle/>
                    <a:p>
                      <a:r>
                        <a:rPr lang="de-DE" sz="1100"/>
                        <a:t>Berlin</a:t>
                      </a:r>
                    </a:p>
                  </a:txBody>
                  <a:tcPr marL="66865" marR="66865" marT="33433" marB="33433"/>
                </a:tc>
                <a:tc>
                  <a:txBody>
                    <a:bodyPr/>
                    <a:lstStyle/>
                    <a:p>
                      <a:r>
                        <a:rPr lang="de-DE" sz="1100"/>
                        <a:t>5%</a:t>
                      </a:r>
                    </a:p>
                  </a:txBody>
                  <a:tcPr marL="66865" marR="66865" marT="33433" marB="33433"/>
                </a:tc>
                <a:extLst>
                  <a:ext uri="{0D108BD9-81ED-4DB2-BD59-A6C34878D82A}">
                    <a16:rowId xmlns:a16="http://schemas.microsoft.com/office/drawing/2014/main" val="1752971103"/>
                  </a:ext>
                </a:extLst>
              </a:tr>
              <a:tr h="271177">
                <a:tc>
                  <a:txBody>
                    <a:bodyPr/>
                    <a:lstStyle/>
                    <a:p>
                      <a:r>
                        <a:rPr lang="de-DE" sz="1100"/>
                        <a:t>…</a:t>
                      </a:r>
                    </a:p>
                  </a:txBody>
                  <a:tcPr marL="66865" marR="66865" marT="33433" marB="33433"/>
                </a:tc>
                <a:tc>
                  <a:txBody>
                    <a:bodyPr/>
                    <a:lstStyle/>
                    <a:p>
                      <a:r>
                        <a:rPr lang="de-DE" sz="1100"/>
                        <a:t>….</a:t>
                      </a:r>
                    </a:p>
                  </a:txBody>
                  <a:tcPr marL="66865" marR="66865" marT="33433" marB="33433"/>
                </a:tc>
                <a:extLst>
                  <a:ext uri="{0D108BD9-81ED-4DB2-BD59-A6C34878D82A}">
                    <a16:rowId xmlns:a16="http://schemas.microsoft.com/office/drawing/2014/main" val="1955895955"/>
                  </a:ext>
                </a:extLst>
              </a:tr>
            </a:tbl>
          </a:graphicData>
        </a:graphic>
      </p:graphicFrame>
      <p:sp>
        <p:nvSpPr>
          <p:cNvPr id="54" name="Textfeld 53">
            <a:extLst>
              <a:ext uri="{FF2B5EF4-FFF2-40B4-BE49-F238E27FC236}">
                <a16:creationId xmlns:a16="http://schemas.microsoft.com/office/drawing/2014/main" id="{109E170E-361B-D65E-BEF3-212642EE0C2A}"/>
              </a:ext>
            </a:extLst>
          </p:cNvPr>
          <p:cNvSpPr txBox="1"/>
          <p:nvPr/>
        </p:nvSpPr>
        <p:spPr>
          <a:xfrm>
            <a:off x="8342871" y="3816620"/>
            <a:ext cx="711517" cy="215164"/>
          </a:xfrm>
          <a:prstGeom prst="rect">
            <a:avLst/>
          </a:prstGeom>
          <a:solidFill>
            <a:schemeClr val="bg1"/>
          </a:solidFill>
        </p:spPr>
        <p:txBody>
          <a:bodyPr vert="horz" wrap="square" lIns="0" tIns="0" rIns="0" bIns="0" rtlCol="0">
            <a:noAutofit/>
          </a:bodyPr>
          <a:lstStyle/>
          <a:p>
            <a:pPr algn="ctr" defTabSz="822960">
              <a:defRPr/>
            </a:pPr>
            <a:r>
              <a:rPr lang="en-US" sz="1260">
                <a:solidFill>
                  <a:srgbClr val="4B4B4B"/>
                </a:solidFill>
                <a:latin typeface="Trebuchet MS"/>
              </a:rPr>
              <a:t>?</a:t>
            </a:r>
          </a:p>
        </p:txBody>
      </p:sp>
      <p:sp>
        <p:nvSpPr>
          <p:cNvPr id="55" name="Rechteck 7">
            <a:extLst>
              <a:ext uri="{FF2B5EF4-FFF2-40B4-BE49-F238E27FC236}">
                <a16:creationId xmlns:a16="http://schemas.microsoft.com/office/drawing/2014/main" id="{9F2B10A6-DBFB-D183-5231-7368B2211362}"/>
              </a:ext>
            </a:extLst>
          </p:cNvPr>
          <p:cNvSpPr/>
          <p:nvPr/>
        </p:nvSpPr>
        <p:spPr bwMode="auto">
          <a:xfrm>
            <a:off x="12399455" y="342900"/>
            <a:ext cx="1988820" cy="1457326"/>
          </a:xfrm>
          <a:prstGeom prst="rect">
            <a:avLst/>
          </a:prstGeom>
          <a:solidFill>
            <a:schemeClr val="bg2"/>
          </a:solidFill>
          <a:ln w="12700" cap="flat" cmpd="sng" algn="ctr">
            <a:solidFill>
              <a:srgbClr val="C0C0C0"/>
            </a:solid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defRPr/>
            </a:pPr>
            <a:r>
              <a:rPr lang="de-DE" sz="720">
                <a:solidFill>
                  <a:srgbClr val="000000"/>
                </a:solidFill>
              </a:rPr>
              <a:t>Quellen:</a:t>
            </a:r>
          </a:p>
          <a:p>
            <a:pPr defTabSz="901542">
              <a:defRPr/>
            </a:pPr>
            <a:endParaRPr lang="de-DE" sz="720">
              <a:solidFill>
                <a:srgbClr val="000000"/>
              </a:solidFill>
            </a:endParaRPr>
          </a:p>
        </p:txBody>
      </p:sp>
    </p:spTree>
    <p:extLst>
      <p:ext uri="{BB962C8B-B14F-4D97-AF65-F5344CB8AC3E}">
        <p14:creationId xmlns:p14="http://schemas.microsoft.com/office/powerpoint/2010/main" val="1703018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54"/>
                                        </p:tgtEl>
                                      </p:cBhvr>
                                    </p:animEffect>
                                    <p:set>
                                      <p:cBhvr>
                                        <p:cTn id="7" dur="1" fill="hold">
                                          <p:stCondLst>
                                            <p:cond delay="499"/>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F499F4-F390-2A7F-8920-3AC9BF08C24C}"/>
              </a:ext>
            </a:extLst>
          </p:cNvPr>
          <p:cNvSpPr>
            <a:spLocks noGrp="1"/>
          </p:cNvSpPr>
          <p:nvPr>
            <p:ph type="title"/>
          </p:nvPr>
        </p:nvSpPr>
        <p:spPr/>
        <p:txBody>
          <a:bodyPr/>
          <a:lstStyle/>
          <a:p>
            <a:r>
              <a:rPr lang="de-DE"/>
              <a:t>Large Language Models basieren auf Wahrscheinlichkeiten</a:t>
            </a:r>
            <a:endParaRPr lang="en-GB"/>
          </a:p>
        </p:txBody>
      </p:sp>
      <p:sp>
        <p:nvSpPr>
          <p:cNvPr id="4" name="Foliennummernplatzhalter 3">
            <a:extLst>
              <a:ext uri="{FF2B5EF4-FFF2-40B4-BE49-F238E27FC236}">
                <a16:creationId xmlns:a16="http://schemas.microsoft.com/office/drawing/2014/main" id="{D586174C-C46A-AAC6-0A5F-8186F1892C5E}"/>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33</a:t>
            </a:fld>
            <a:endParaRPr lang="en-US" sz="810">
              <a:solidFill>
                <a:srgbClr val="889194"/>
              </a:solidFill>
              <a:latin typeface="Trebuchet MS"/>
            </a:endParaRPr>
          </a:p>
        </p:txBody>
      </p:sp>
      <p:sp>
        <p:nvSpPr>
          <p:cNvPr id="7" name="Inhaltsplatzhalter 6">
            <a:extLst>
              <a:ext uri="{FF2B5EF4-FFF2-40B4-BE49-F238E27FC236}">
                <a16:creationId xmlns:a16="http://schemas.microsoft.com/office/drawing/2014/main" id="{10A620B6-37FE-5869-BEE6-FFF470ACE71C}"/>
              </a:ext>
            </a:extLst>
          </p:cNvPr>
          <p:cNvSpPr>
            <a:spLocks noGrp="1"/>
          </p:cNvSpPr>
          <p:nvPr>
            <p:ph sz="quarter" idx="17"/>
          </p:nvPr>
        </p:nvSpPr>
        <p:spPr/>
        <p:txBody>
          <a:bodyPr/>
          <a:lstStyle/>
          <a:p>
            <a:r>
              <a:rPr lang="en-US"/>
              <a:t>© Stefan Decker, RWTH Aachen, Fraunhofer FIT</a:t>
            </a:r>
          </a:p>
        </p:txBody>
      </p:sp>
      <p:grpSp>
        <p:nvGrpSpPr>
          <p:cNvPr id="8" name="Group 181">
            <a:extLst>
              <a:ext uri="{FF2B5EF4-FFF2-40B4-BE49-F238E27FC236}">
                <a16:creationId xmlns:a16="http://schemas.microsoft.com/office/drawing/2014/main" id="{441589A8-7D2E-AC7C-DB91-B464F65C1F91}"/>
              </a:ext>
            </a:extLst>
          </p:cNvPr>
          <p:cNvGrpSpPr/>
          <p:nvPr/>
        </p:nvGrpSpPr>
        <p:grpSpPr>
          <a:xfrm>
            <a:off x="2373244" y="1799766"/>
            <a:ext cx="6806783" cy="3734731"/>
            <a:chOff x="1874027" y="833416"/>
            <a:chExt cx="9308423" cy="5107323"/>
          </a:xfrm>
        </p:grpSpPr>
        <p:sp>
          <p:nvSpPr>
            <p:cNvPr id="9" name="Oval 6">
              <a:extLst>
                <a:ext uri="{FF2B5EF4-FFF2-40B4-BE49-F238E27FC236}">
                  <a16:creationId xmlns:a16="http://schemas.microsoft.com/office/drawing/2014/main" id="{996D7C69-B140-485B-96A8-2814BBCACB40}"/>
                </a:ext>
              </a:extLst>
            </p:cNvPr>
            <p:cNvSpPr/>
            <p:nvPr/>
          </p:nvSpPr>
          <p:spPr>
            <a:xfrm>
              <a:off x="3512643" y="1960401"/>
              <a:ext cx="587424" cy="587424"/>
            </a:xfrm>
            <a:prstGeom prst="ellipse">
              <a:avLst/>
            </a:prstGeom>
            <a:gradFill>
              <a:gsLst>
                <a:gs pos="0">
                  <a:schemeClr val="tx2"/>
                </a:gs>
                <a:gs pos="100000">
                  <a:schemeClr val="bg1"/>
                </a:gs>
                <a:gs pos="100000">
                  <a:schemeClr val="bg1"/>
                </a:gs>
              </a:gsLst>
            </a:gra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0" name="Oval 9">
              <a:extLst>
                <a:ext uri="{FF2B5EF4-FFF2-40B4-BE49-F238E27FC236}">
                  <a16:creationId xmlns:a16="http://schemas.microsoft.com/office/drawing/2014/main" id="{1FD221E9-8C52-A8C1-CEE6-76E348D855AC}"/>
                </a:ext>
              </a:extLst>
            </p:cNvPr>
            <p:cNvSpPr/>
            <p:nvPr/>
          </p:nvSpPr>
          <p:spPr>
            <a:xfrm>
              <a:off x="3512643" y="2985897"/>
              <a:ext cx="587424" cy="587424"/>
            </a:xfrm>
            <a:prstGeom prst="ellipse">
              <a:avLst/>
            </a:prstGeom>
            <a:gradFill>
              <a:gsLst>
                <a:gs pos="0">
                  <a:schemeClr val="tx2"/>
                </a:gs>
                <a:gs pos="100000">
                  <a:schemeClr val="bg1"/>
                </a:gs>
                <a:gs pos="100000">
                  <a:schemeClr val="bg1"/>
                </a:gs>
              </a:gsLst>
            </a:gra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1" name="Oval 12">
              <a:extLst>
                <a:ext uri="{FF2B5EF4-FFF2-40B4-BE49-F238E27FC236}">
                  <a16:creationId xmlns:a16="http://schemas.microsoft.com/office/drawing/2014/main" id="{8248FB41-5DFB-AD84-709A-0EECDEF5D75B}"/>
                </a:ext>
              </a:extLst>
            </p:cNvPr>
            <p:cNvSpPr/>
            <p:nvPr/>
          </p:nvSpPr>
          <p:spPr>
            <a:xfrm>
              <a:off x="3512643" y="4019253"/>
              <a:ext cx="587424" cy="587424"/>
            </a:xfrm>
            <a:prstGeom prst="ellipse">
              <a:avLst/>
            </a:prstGeom>
            <a:gradFill>
              <a:gsLst>
                <a:gs pos="0">
                  <a:schemeClr val="tx2"/>
                </a:gs>
                <a:gs pos="100000">
                  <a:schemeClr val="bg1"/>
                </a:gs>
                <a:gs pos="100000">
                  <a:schemeClr val="bg1"/>
                </a:gs>
              </a:gsLst>
            </a:gra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2" name="Oval 15">
              <a:extLst>
                <a:ext uri="{FF2B5EF4-FFF2-40B4-BE49-F238E27FC236}">
                  <a16:creationId xmlns:a16="http://schemas.microsoft.com/office/drawing/2014/main" id="{CAAE2454-3A4D-D68A-5510-F5C1E27896DD}"/>
                </a:ext>
              </a:extLst>
            </p:cNvPr>
            <p:cNvSpPr/>
            <p:nvPr/>
          </p:nvSpPr>
          <p:spPr>
            <a:xfrm>
              <a:off x="6002941" y="2395425"/>
              <a:ext cx="587424" cy="587424"/>
            </a:xfrm>
            <a:prstGeom prst="ellipse">
              <a:avLst/>
            </a:prstGeom>
            <a:gradFill>
              <a:gsLst>
                <a:gs pos="0">
                  <a:schemeClr val="accent2">
                    <a:lumMod val="75000"/>
                  </a:schemeClr>
                </a:gs>
                <a:gs pos="100000">
                  <a:schemeClr val="bg1"/>
                </a:gs>
                <a:gs pos="100000">
                  <a:schemeClr val="accent1">
                    <a:shade val="94000"/>
                    <a:satMod val="135000"/>
                  </a:schemeClr>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3" name="Oval 18">
              <a:extLst>
                <a:ext uri="{FF2B5EF4-FFF2-40B4-BE49-F238E27FC236}">
                  <a16:creationId xmlns:a16="http://schemas.microsoft.com/office/drawing/2014/main" id="{A7B67AE6-D267-F9D2-6BFE-7C3320CCE2A7}"/>
                </a:ext>
              </a:extLst>
            </p:cNvPr>
            <p:cNvSpPr/>
            <p:nvPr/>
          </p:nvSpPr>
          <p:spPr>
            <a:xfrm>
              <a:off x="6013282" y="3445048"/>
              <a:ext cx="587424" cy="587424"/>
            </a:xfrm>
            <a:prstGeom prst="ellipse">
              <a:avLst/>
            </a:prstGeom>
            <a:gradFill>
              <a:gsLst>
                <a:gs pos="0">
                  <a:schemeClr val="accent2">
                    <a:lumMod val="75000"/>
                  </a:schemeClr>
                </a:gs>
                <a:gs pos="100000">
                  <a:schemeClr val="bg1"/>
                </a:gs>
                <a:gs pos="100000">
                  <a:schemeClr val="accent1">
                    <a:shade val="94000"/>
                    <a:satMod val="135000"/>
                  </a:schemeClr>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4" name="Oval 21">
              <a:extLst>
                <a:ext uri="{FF2B5EF4-FFF2-40B4-BE49-F238E27FC236}">
                  <a16:creationId xmlns:a16="http://schemas.microsoft.com/office/drawing/2014/main" id="{1A20498A-8EB0-CBE6-6B65-5B12C44F2A2B}"/>
                </a:ext>
              </a:extLst>
            </p:cNvPr>
            <p:cNvSpPr/>
            <p:nvPr/>
          </p:nvSpPr>
          <p:spPr>
            <a:xfrm>
              <a:off x="6002941" y="4454277"/>
              <a:ext cx="587424" cy="587424"/>
            </a:xfrm>
            <a:prstGeom prst="ellipse">
              <a:avLst/>
            </a:prstGeom>
            <a:gradFill>
              <a:gsLst>
                <a:gs pos="0">
                  <a:schemeClr val="accent2">
                    <a:lumMod val="75000"/>
                  </a:schemeClr>
                </a:gs>
                <a:gs pos="100000">
                  <a:schemeClr val="bg1"/>
                </a:gs>
                <a:gs pos="100000">
                  <a:schemeClr val="accent1">
                    <a:shade val="94000"/>
                    <a:satMod val="135000"/>
                  </a:schemeClr>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5" name="Oval 24">
              <a:extLst>
                <a:ext uri="{FF2B5EF4-FFF2-40B4-BE49-F238E27FC236}">
                  <a16:creationId xmlns:a16="http://schemas.microsoft.com/office/drawing/2014/main" id="{4F7410E5-1887-A31C-FAE4-B38C1E3247E4}"/>
                </a:ext>
              </a:extLst>
            </p:cNvPr>
            <p:cNvSpPr/>
            <p:nvPr/>
          </p:nvSpPr>
          <p:spPr>
            <a:xfrm>
              <a:off x="8278795" y="3420921"/>
              <a:ext cx="587424" cy="587424"/>
            </a:xfrm>
            <a:prstGeom prst="ellipse">
              <a:avLst/>
            </a:prstGeom>
            <a:gradFill>
              <a:gsLst>
                <a:gs pos="0">
                  <a:schemeClr val="accent3">
                    <a:lumMod val="75000"/>
                  </a:schemeClr>
                </a:gs>
                <a:gs pos="100000">
                  <a:schemeClr val="bg1"/>
                </a:gs>
                <a:gs pos="100000">
                  <a:schemeClr val="accent1">
                    <a:shade val="94000"/>
                    <a:satMod val="135000"/>
                  </a:schemeClr>
                </a:gs>
              </a:gsLst>
            </a:gra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cxnSp>
          <p:nvCxnSpPr>
            <p:cNvPr id="16" name="Straight Arrow Connector 30">
              <a:extLst>
                <a:ext uri="{FF2B5EF4-FFF2-40B4-BE49-F238E27FC236}">
                  <a16:creationId xmlns:a16="http://schemas.microsoft.com/office/drawing/2014/main" id="{86AFFA3F-77B3-CE58-0BC8-0F0B233102AB}"/>
                </a:ext>
              </a:extLst>
            </p:cNvPr>
            <p:cNvCxnSpPr>
              <a:cxnSpLocks/>
              <a:stCxn id="9" idx="6"/>
              <a:endCxn id="12" idx="2"/>
            </p:cNvCxnSpPr>
            <p:nvPr/>
          </p:nvCxnSpPr>
          <p:spPr>
            <a:xfrm>
              <a:off x="4100067" y="2254113"/>
              <a:ext cx="1902874" cy="43502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31">
              <a:extLst>
                <a:ext uri="{FF2B5EF4-FFF2-40B4-BE49-F238E27FC236}">
                  <a16:creationId xmlns:a16="http://schemas.microsoft.com/office/drawing/2014/main" id="{366840EA-092C-C738-2A37-59015DA1A218}"/>
                </a:ext>
              </a:extLst>
            </p:cNvPr>
            <p:cNvCxnSpPr>
              <a:cxnSpLocks/>
              <a:stCxn id="9" idx="6"/>
              <a:endCxn id="13" idx="2"/>
            </p:cNvCxnSpPr>
            <p:nvPr/>
          </p:nvCxnSpPr>
          <p:spPr>
            <a:xfrm>
              <a:off x="4100067" y="2254113"/>
              <a:ext cx="1913215" cy="1484647"/>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18" name="Straight Arrow Connector 32">
              <a:extLst>
                <a:ext uri="{FF2B5EF4-FFF2-40B4-BE49-F238E27FC236}">
                  <a16:creationId xmlns:a16="http://schemas.microsoft.com/office/drawing/2014/main" id="{8A6CA255-92BA-DABE-DCC1-A3FCC45DDC06}"/>
                </a:ext>
              </a:extLst>
            </p:cNvPr>
            <p:cNvCxnSpPr>
              <a:cxnSpLocks/>
              <a:stCxn id="9" idx="6"/>
              <a:endCxn id="14" idx="2"/>
            </p:cNvCxnSpPr>
            <p:nvPr/>
          </p:nvCxnSpPr>
          <p:spPr>
            <a:xfrm>
              <a:off x="4100067" y="2254113"/>
              <a:ext cx="1902874" cy="2493875"/>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33">
              <a:extLst>
                <a:ext uri="{FF2B5EF4-FFF2-40B4-BE49-F238E27FC236}">
                  <a16:creationId xmlns:a16="http://schemas.microsoft.com/office/drawing/2014/main" id="{0DEA1D8A-0423-CC25-D954-06654320F501}"/>
                </a:ext>
              </a:extLst>
            </p:cNvPr>
            <p:cNvCxnSpPr>
              <a:cxnSpLocks/>
              <a:stCxn id="10" idx="6"/>
              <a:endCxn id="12" idx="2"/>
            </p:cNvCxnSpPr>
            <p:nvPr/>
          </p:nvCxnSpPr>
          <p:spPr>
            <a:xfrm flipV="1">
              <a:off x="4100067" y="2689137"/>
              <a:ext cx="1902874" cy="590471"/>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0" name="Straight Arrow Connector 34">
              <a:extLst>
                <a:ext uri="{FF2B5EF4-FFF2-40B4-BE49-F238E27FC236}">
                  <a16:creationId xmlns:a16="http://schemas.microsoft.com/office/drawing/2014/main" id="{67707488-425A-AF13-CDF2-E5E5D527FAD6}"/>
                </a:ext>
              </a:extLst>
            </p:cNvPr>
            <p:cNvCxnSpPr>
              <a:stCxn id="10" idx="6"/>
              <a:endCxn id="13" idx="2"/>
            </p:cNvCxnSpPr>
            <p:nvPr/>
          </p:nvCxnSpPr>
          <p:spPr>
            <a:xfrm>
              <a:off x="4100067" y="3279609"/>
              <a:ext cx="1913215" cy="459151"/>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1" name="Straight Arrow Connector 35">
              <a:extLst>
                <a:ext uri="{FF2B5EF4-FFF2-40B4-BE49-F238E27FC236}">
                  <a16:creationId xmlns:a16="http://schemas.microsoft.com/office/drawing/2014/main" id="{3052CF2C-5759-92A8-A8CB-592CB1C3CA6E}"/>
                </a:ext>
              </a:extLst>
            </p:cNvPr>
            <p:cNvCxnSpPr>
              <a:cxnSpLocks/>
              <a:stCxn id="10" idx="6"/>
              <a:endCxn id="14" idx="2"/>
            </p:cNvCxnSpPr>
            <p:nvPr/>
          </p:nvCxnSpPr>
          <p:spPr>
            <a:xfrm>
              <a:off x="4100067" y="3279609"/>
              <a:ext cx="1902874" cy="1468380"/>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36">
              <a:extLst>
                <a:ext uri="{FF2B5EF4-FFF2-40B4-BE49-F238E27FC236}">
                  <a16:creationId xmlns:a16="http://schemas.microsoft.com/office/drawing/2014/main" id="{E904D36B-0794-F5F0-A506-16396C2F0772}"/>
                </a:ext>
              </a:extLst>
            </p:cNvPr>
            <p:cNvCxnSpPr>
              <a:cxnSpLocks/>
              <a:stCxn id="11" idx="6"/>
              <a:endCxn id="14" idx="2"/>
            </p:cNvCxnSpPr>
            <p:nvPr/>
          </p:nvCxnSpPr>
          <p:spPr>
            <a:xfrm>
              <a:off x="4100067" y="4312965"/>
              <a:ext cx="1902874" cy="43502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37">
              <a:extLst>
                <a:ext uri="{FF2B5EF4-FFF2-40B4-BE49-F238E27FC236}">
                  <a16:creationId xmlns:a16="http://schemas.microsoft.com/office/drawing/2014/main" id="{F47159BA-960D-82B5-627E-85E39230B73B}"/>
                </a:ext>
              </a:extLst>
            </p:cNvPr>
            <p:cNvCxnSpPr>
              <a:cxnSpLocks/>
              <a:stCxn id="11" idx="6"/>
              <a:endCxn id="13" idx="2"/>
            </p:cNvCxnSpPr>
            <p:nvPr/>
          </p:nvCxnSpPr>
          <p:spPr>
            <a:xfrm flipV="1">
              <a:off x="4100067" y="3738760"/>
              <a:ext cx="1913215" cy="57420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4" name="Straight Arrow Connector 38">
              <a:extLst>
                <a:ext uri="{FF2B5EF4-FFF2-40B4-BE49-F238E27FC236}">
                  <a16:creationId xmlns:a16="http://schemas.microsoft.com/office/drawing/2014/main" id="{38009C61-2D33-747F-8AA3-D5982FA27BA9}"/>
                </a:ext>
              </a:extLst>
            </p:cNvPr>
            <p:cNvCxnSpPr>
              <a:cxnSpLocks/>
              <a:stCxn id="11" idx="6"/>
              <a:endCxn id="12" idx="2"/>
            </p:cNvCxnSpPr>
            <p:nvPr/>
          </p:nvCxnSpPr>
          <p:spPr>
            <a:xfrm flipV="1">
              <a:off x="4100067" y="2689137"/>
              <a:ext cx="1902874" cy="1623827"/>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5" name="Straight Arrow Connector 51">
              <a:extLst>
                <a:ext uri="{FF2B5EF4-FFF2-40B4-BE49-F238E27FC236}">
                  <a16:creationId xmlns:a16="http://schemas.microsoft.com/office/drawing/2014/main" id="{FD33B569-36E3-DFAB-F44E-77E65FF78943}"/>
                </a:ext>
              </a:extLst>
            </p:cNvPr>
            <p:cNvCxnSpPr>
              <a:cxnSpLocks/>
              <a:endCxn id="15" idx="2"/>
            </p:cNvCxnSpPr>
            <p:nvPr/>
          </p:nvCxnSpPr>
          <p:spPr>
            <a:xfrm flipV="1">
              <a:off x="6590365" y="3714632"/>
              <a:ext cx="1688430" cy="1033356"/>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6" name="Straight Arrow Connector 52">
              <a:extLst>
                <a:ext uri="{FF2B5EF4-FFF2-40B4-BE49-F238E27FC236}">
                  <a16:creationId xmlns:a16="http://schemas.microsoft.com/office/drawing/2014/main" id="{8A0C9252-949D-0567-C518-B54F51E9C0FE}"/>
                </a:ext>
              </a:extLst>
            </p:cNvPr>
            <p:cNvCxnSpPr>
              <a:stCxn id="13" idx="6"/>
              <a:endCxn id="15" idx="2"/>
            </p:cNvCxnSpPr>
            <p:nvPr/>
          </p:nvCxnSpPr>
          <p:spPr>
            <a:xfrm flipV="1">
              <a:off x="6600706" y="3714633"/>
              <a:ext cx="1678089" cy="24127"/>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7" name="Straight Arrow Connector 53">
              <a:extLst>
                <a:ext uri="{FF2B5EF4-FFF2-40B4-BE49-F238E27FC236}">
                  <a16:creationId xmlns:a16="http://schemas.microsoft.com/office/drawing/2014/main" id="{ED9F7980-9F6D-E803-C7DD-E696EC8E0489}"/>
                </a:ext>
              </a:extLst>
            </p:cNvPr>
            <p:cNvCxnSpPr>
              <a:cxnSpLocks/>
              <a:stCxn id="12" idx="6"/>
              <a:endCxn id="15" idx="2"/>
            </p:cNvCxnSpPr>
            <p:nvPr/>
          </p:nvCxnSpPr>
          <p:spPr>
            <a:xfrm>
              <a:off x="6590365" y="2689137"/>
              <a:ext cx="1688430" cy="1025495"/>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28" name="Oval 55">
              <a:extLst>
                <a:ext uri="{FF2B5EF4-FFF2-40B4-BE49-F238E27FC236}">
                  <a16:creationId xmlns:a16="http://schemas.microsoft.com/office/drawing/2014/main" id="{033C7871-E4B0-7806-E000-6318FCD1DE0E}"/>
                </a:ext>
              </a:extLst>
            </p:cNvPr>
            <p:cNvSpPr/>
            <p:nvPr/>
          </p:nvSpPr>
          <p:spPr>
            <a:xfrm>
              <a:off x="3512643" y="5011450"/>
              <a:ext cx="587424" cy="587424"/>
            </a:xfrm>
            <a:prstGeom prst="ellipse">
              <a:avLst/>
            </a:prstGeom>
            <a:gradFill>
              <a:gsLst>
                <a:gs pos="0">
                  <a:schemeClr val="tx2"/>
                </a:gs>
                <a:gs pos="100000">
                  <a:schemeClr val="bg1"/>
                </a:gs>
                <a:gs pos="100000">
                  <a:schemeClr val="accent1">
                    <a:shade val="94000"/>
                    <a:satMod val="135000"/>
                  </a:schemeClr>
                </a:gs>
              </a:gsLst>
            </a:gra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29" name="Oval 57">
              <a:extLst>
                <a:ext uri="{FF2B5EF4-FFF2-40B4-BE49-F238E27FC236}">
                  <a16:creationId xmlns:a16="http://schemas.microsoft.com/office/drawing/2014/main" id="{7ECAED7C-4B89-BD55-4917-4DFD8FCC8482}"/>
                </a:ext>
              </a:extLst>
            </p:cNvPr>
            <p:cNvSpPr/>
            <p:nvPr/>
          </p:nvSpPr>
          <p:spPr>
            <a:xfrm>
              <a:off x="5995734" y="1500281"/>
              <a:ext cx="587424" cy="587424"/>
            </a:xfrm>
            <a:prstGeom prst="ellipse">
              <a:avLst/>
            </a:prstGeom>
            <a:gradFill>
              <a:gsLst>
                <a:gs pos="0">
                  <a:schemeClr val="accent2">
                    <a:lumMod val="75000"/>
                  </a:schemeClr>
                </a:gs>
                <a:gs pos="100000">
                  <a:schemeClr val="bg1"/>
                </a:gs>
                <a:gs pos="100000">
                  <a:schemeClr val="accent1">
                    <a:shade val="94000"/>
                    <a:satMod val="135000"/>
                  </a:schemeClr>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30" name="Oval 60">
              <a:extLst>
                <a:ext uri="{FF2B5EF4-FFF2-40B4-BE49-F238E27FC236}">
                  <a16:creationId xmlns:a16="http://schemas.microsoft.com/office/drawing/2014/main" id="{66FF4537-8B35-E6F8-C40D-C7E0F82E5278}"/>
                </a:ext>
              </a:extLst>
            </p:cNvPr>
            <p:cNvSpPr/>
            <p:nvPr/>
          </p:nvSpPr>
          <p:spPr>
            <a:xfrm>
              <a:off x="6002941" y="5353315"/>
              <a:ext cx="587424" cy="587424"/>
            </a:xfrm>
            <a:prstGeom prst="ellipse">
              <a:avLst/>
            </a:prstGeom>
            <a:gradFill>
              <a:gsLst>
                <a:gs pos="0">
                  <a:schemeClr val="accent2">
                    <a:lumMod val="75000"/>
                  </a:schemeClr>
                </a:gs>
                <a:gs pos="100000">
                  <a:schemeClr val="bg1"/>
                </a:gs>
                <a:gs pos="100000">
                  <a:schemeClr val="accent1">
                    <a:shade val="94000"/>
                    <a:satMod val="135000"/>
                  </a:schemeClr>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cxnSp>
          <p:nvCxnSpPr>
            <p:cNvPr id="31" name="Straight Arrow Connector 70">
              <a:extLst>
                <a:ext uri="{FF2B5EF4-FFF2-40B4-BE49-F238E27FC236}">
                  <a16:creationId xmlns:a16="http://schemas.microsoft.com/office/drawing/2014/main" id="{1F79C766-D47B-67EE-8D16-7F37D3D3ACAF}"/>
                </a:ext>
              </a:extLst>
            </p:cNvPr>
            <p:cNvCxnSpPr>
              <a:cxnSpLocks/>
              <a:stCxn id="9" idx="6"/>
              <a:endCxn id="29" idx="2"/>
            </p:cNvCxnSpPr>
            <p:nvPr/>
          </p:nvCxnSpPr>
          <p:spPr>
            <a:xfrm flipV="1">
              <a:off x="4100067" y="1793993"/>
              <a:ext cx="1895667" cy="460120"/>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2" name="Straight Arrow Connector 72">
              <a:extLst>
                <a:ext uri="{FF2B5EF4-FFF2-40B4-BE49-F238E27FC236}">
                  <a16:creationId xmlns:a16="http://schemas.microsoft.com/office/drawing/2014/main" id="{F504B161-0CFE-5B57-A985-B2369AF90427}"/>
                </a:ext>
              </a:extLst>
            </p:cNvPr>
            <p:cNvCxnSpPr>
              <a:cxnSpLocks/>
              <a:stCxn id="9" idx="6"/>
              <a:endCxn id="30" idx="2"/>
            </p:cNvCxnSpPr>
            <p:nvPr/>
          </p:nvCxnSpPr>
          <p:spPr>
            <a:xfrm>
              <a:off x="4100067" y="2254113"/>
              <a:ext cx="1902874" cy="339291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3" name="Straight Arrow Connector 78">
              <a:extLst>
                <a:ext uri="{FF2B5EF4-FFF2-40B4-BE49-F238E27FC236}">
                  <a16:creationId xmlns:a16="http://schemas.microsoft.com/office/drawing/2014/main" id="{94CFC9DC-A9DE-7A5F-4B1D-48368BB27574}"/>
                </a:ext>
              </a:extLst>
            </p:cNvPr>
            <p:cNvCxnSpPr>
              <a:cxnSpLocks/>
              <a:stCxn id="10" idx="6"/>
              <a:endCxn id="29" idx="2"/>
            </p:cNvCxnSpPr>
            <p:nvPr/>
          </p:nvCxnSpPr>
          <p:spPr>
            <a:xfrm flipV="1">
              <a:off x="4100067" y="1793993"/>
              <a:ext cx="1895667" cy="1485616"/>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4" name="Straight Arrow Connector 81">
              <a:extLst>
                <a:ext uri="{FF2B5EF4-FFF2-40B4-BE49-F238E27FC236}">
                  <a16:creationId xmlns:a16="http://schemas.microsoft.com/office/drawing/2014/main" id="{1BA35ADC-09DD-EE92-64DE-C80718B564CD}"/>
                </a:ext>
              </a:extLst>
            </p:cNvPr>
            <p:cNvCxnSpPr>
              <a:cxnSpLocks/>
              <a:stCxn id="10" idx="6"/>
              <a:endCxn id="30" idx="2"/>
            </p:cNvCxnSpPr>
            <p:nvPr/>
          </p:nvCxnSpPr>
          <p:spPr>
            <a:xfrm>
              <a:off x="4100067" y="3279609"/>
              <a:ext cx="1902874" cy="2367418"/>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5" name="Straight Arrow Connector 84">
              <a:extLst>
                <a:ext uri="{FF2B5EF4-FFF2-40B4-BE49-F238E27FC236}">
                  <a16:creationId xmlns:a16="http://schemas.microsoft.com/office/drawing/2014/main" id="{63FEF070-EEB9-31DC-F44B-A8708CBEECD6}"/>
                </a:ext>
              </a:extLst>
            </p:cNvPr>
            <p:cNvCxnSpPr>
              <a:cxnSpLocks/>
              <a:stCxn id="11" idx="6"/>
              <a:endCxn id="29" idx="2"/>
            </p:cNvCxnSpPr>
            <p:nvPr/>
          </p:nvCxnSpPr>
          <p:spPr>
            <a:xfrm flipV="1">
              <a:off x="4100067" y="1793993"/>
              <a:ext cx="1895667" cy="2518972"/>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6" name="Straight Arrow Connector 87">
              <a:extLst>
                <a:ext uri="{FF2B5EF4-FFF2-40B4-BE49-F238E27FC236}">
                  <a16:creationId xmlns:a16="http://schemas.microsoft.com/office/drawing/2014/main" id="{066D810E-54E0-869A-425F-51812A017549}"/>
                </a:ext>
              </a:extLst>
            </p:cNvPr>
            <p:cNvCxnSpPr>
              <a:cxnSpLocks/>
              <a:stCxn id="11" idx="6"/>
              <a:endCxn id="30" idx="2"/>
            </p:cNvCxnSpPr>
            <p:nvPr/>
          </p:nvCxnSpPr>
          <p:spPr>
            <a:xfrm>
              <a:off x="4100067" y="4312965"/>
              <a:ext cx="1902874" cy="1334062"/>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7" name="Straight Arrow Connector 97">
              <a:extLst>
                <a:ext uri="{FF2B5EF4-FFF2-40B4-BE49-F238E27FC236}">
                  <a16:creationId xmlns:a16="http://schemas.microsoft.com/office/drawing/2014/main" id="{4328E201-A9C5-30B2-F70D-10DE793E0BF7}"/>
                </a:ext>
              </a:extLst>
            </p:cNvPr>
            <p:cNvCxnSpPr>
              <a:cxnSpLocks/>
              <a:stCxn id="28" idx="6"/>
              <a:endCxn id="29" idx="2"/>
            </p:cNvCxnSpPr>
            <p:nvPr/>
          </p:nvCxnSpPr>
          <p:spPr>
            <a:xfrm flipV="1">
              <a:off x="4100067" y="1793993"/>
              <a:ext cx="1895667" cy="3511168"/>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8" name="Straight Arrow Connector 100">
              <a:extLst>
                <a:ext uri="{FF2B5EF4-FFF2-40B4-BE49-F238E27FC236}">
                  <a16:creationId xmlns:a16="http://schemas.microsoft.com/office/drawing/2014/main" id="{4EDF3F58-093F-F2D1-C457-C373183B468F}"/>
                </a:ext>
              </a:extLst>
            </p:cNvPr>
            <p:cNvCxnSpPr>
              <a:cxnSpLocks/>
              <a:stCxn id="28" idx="6"/>
              <a:endCxn id="12" idx="2"/>
            </p:cNvCxnSpPr>
            <p:nvPr/>
          </p:nvCxnSpPr>
          <p:spPr>
            <a:xfrm flipV="1">
              <a:off x="4100067" y="2689137"/>
              <a:ext cx="1902874" cy="261602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9" name="Straight Arrow Connector 104">
              <a:extLst>
                <a:ext uri="{FF2B5EF4-FFF2-40B4-BE49-F238E27FC236}">
                  <a16:creationId xmlns:a16="http://schemas.microsoft.com/office/drawing/2014/main" id="{E0D7E94A-D54D-DDEB-DFFF-C074F8F7337F}"/>
                </a:ext>
              </a:extLst>
            </p:cNvPr>
            <p:cNvCxnSpPr>
              <a:cxnSpLocks/>
              <a:stCxn id="28" idx="6"/>
              <a:endCxn id="14" idx="2"/>
            </p:cNvCxnSpPr>
            <p:nvPr/>
          </p:nvCxnSpPr>
          <p:spPr>
            <a:xfrm flipV="1">
              <a:off x="4100067" y="4747989"/>
              <a:ext cx="1902874" cy="557173"/>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40" name="Straight Arrow Connector 109">
              <a:extLst>
                <a:ext uri="{FF2B5EF4-FFF2-40B4-BE49-F238E27FC236}">
                  <a16:creationId xmlns:a16="http://schemas.microsoft.com/office/drawing/2014/main" id="{70E372FD-54DF-52C7-5AC9-4E907D1CC0D3}"/>
                </a:ext>
              </a:extLst>
            </p:cNvPr>
            <p:cNvCxnSpPr>
              <a:cxnSpLocks/>
              <a:endCxn id="15" idx="2"/>
            </p:cNvCxnSpPr>
            <p:nvPr/>
          </p:nvCxnSpPr>
          <p:spPr>
            <a:xfrm>
              <a:off x="6580152" y="1815869"/>
              <a:ext cx="1698643" cy="189876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41" name="Straight Arrow Connector 111">
              <a:extLst>
                <a:ext uri="{FF2B5EF4-FFF2-40B4-BE49-F238E27FC236}">
                  <a16:creationId xmlns:a16="http://schemas.microsoft.com/office/drawing/2014/main" id="{86CA943D-5634-8BF0-7902-98E051656134}"/>
                </a:ext>
              </a:extLst>
            </p:cNvPr>
            <p:cNvCxnSpPr>
              <a:cxnSpLocks/>
              <a:stCxn id="30" idx="6"/>
              <a:endCxn id="15" idx="2"/>
            </p:cNvCxnSpPr>
            <p:nvPr/>
          </p:nvCxnSpPr>
          <p:spPr>
            <a:xfrm flipV="1">
              <a:off x="6590365" y="3714632"/>
              <a:ext cx="1688430" cy="1932395"/>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42" name="Straight Arrow Connector 132">
              <a:extLst>
                <a:ext uri="{FF2B5EF4-FFF2-40B4-BE49-F238E27FC236}">
                  <a16:creationId xmlns:a16="http://schemas.microsoft.com/office/drawing/2014/main" id="{07588744-30F6-7743-D771-CAD5CDF41570}"/>
                </a:ext>
              </a:extLst>
            </p:cNvPr>
            <p:cNvCxnSpPr>
              <a:cxnSpLocks/>
              <a:stCxn id="28" idx="6"/>
            </p:cNvCxnSpPr>
            <p:nvPr/>
          </p:nvCxnSpPr>
          <p:spPr>
            <a:xfrm>
              <a:off x="4100067" y="5305161"/>
              <a:ext cx="1895667" cy="36599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43" name="Straight Arrow Connector 143">
              <a:extLst>
                <a:ext uri="{FF2B5EF4-FFF2-40B4-BE49-F238E27FC236}">
                  <a16:creationId xmlns:a16="http://schemas.microsoft.com/office/drawing/2014/main" id="{4A2737E7-8D5E-EB78-41C3-711FFD78E997}"/>
                </a:ext>
              </a:extLst>
            </p:cNvPr>
            <p:cNvCxnSpPr>
              <a:cxnSpLocks/>
              <a:stCxn id="28" idx="6"/>
              <a:endCxn id="13" idx="2"/>
            </p:cNvCxnSpPr>
            <p:nvPr/>
          </p:nvCxnSpPr>
          <p:spPr>
            <a:xfrm flipV="1">
              <a:off x="4100067" y="3738760"/>
              <a:ext cx="1913215" cy="1566401"/>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44" name="Rectangle: Rounded Corners 155">
              <a:extLst>
                <a:ext uri="{FF2B5EF4-FFF2-40B4-BE49-F238E27FC236}">
                  <a16:creationId xmlns:a16="http://schemas.microsoft.com/office/drawing/2014/main" id="{EB8404E6-21DA-8D92-99BE-957795FE11AB}"/>
                </a:ext>
              </a:extLst>
            </p:cNvPr>
            <p:cNvSpPr/>
            <p:nvPr/>
          </p:nvSpPr>
          <p:spPr bwMode="auto">
            <a:xfrm>
              <a:off x="1936512" y="2041646"/>
              <a:ext cx="1256596" cy="369332"/>
            </a:xfrm>
            <a:prstGeom prst="roundRect">
              <a:avLst/>
            </a:prstGeom>
            <a:noFill/>
            <a:ln w="25400">
              <a:solidFill>
                <a:schemeClr val="tx1"/>
              </a:solid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Angela</a:t>
              </a:r>
            </a:p>
          </p:txBody>
        </p:sp>
        <p:sp>
          <p:nvSpPr>
            <p:cNvPr id="45" name="Rectangle: Rounded Corners 166">
              <a:extLst>
                <a:ext uri="{FF2B5EF4-FFF2-40B4-BE49-F238E27FC236}">
                  <a16:creationId xmlns:a16="http://schemas.microsoft.com/office/drawing/2014/main" id="{222A027B-4CBE-6F67-3CED-BC8543C693C5}"/>
                </a:ext>
              </a:extLst>
            </p:cNvPr>
            <p:cNvSpPr/>
            <p:nvPr/>
          </p:nvSpPr>
          <p:spPr bwMode="auto">
            <a:xfrm>
              <a:off x="1884725" y="3083812"/>
              <a:ext cx="1256596" cy="369332"/>
            </a:xfrm>
            <a:prstGeom prst="roundRect">
              <a:avLst/>
            </a:prstGeom>
            <a:noFill/>
            <a:ln w="25400">
              <a:solidFill>
                <a:schemeClr val="tx1"/>
              </a:solid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flog</a:t>
              </a:r>
            </a:p>
          </p:txBody>
        </p:sp>
        <p:sp>
          <p:nvSpPr>
            <p:cNvPr id="46" name="Rectangle: Rounded Corners 167">
              <a:extLst>
                <a:ext uri="{FF2B5EF4-FFF2-40B4-BE49-F238E27FC236}">
                  <a16:creationId xmlns:a16="http://schemas.microsoft.com/office/drawing/2014/main" id="{94A276AB-56E3-33C3-7077-8BB2ABFD178E}"/>
                </a:ext>
              </a:extLst>
            </p:cNvPr>
            <p:cNvSpPr/>
            <p:nvPr/>
          </p:nvSpPr>
          <p:spPr bwMode="auto">
            <a:xfrm>
              <a:off x="1878448" y="4111993"/>
              <a:ext cx="1256596" cy="369332"/>
            </a:xfrm>
            <a:prstGeom prst="roundRect">
              <a:avLst/>
            </a:prstGeom>
            <a:noFill/>
            <a:ln w="25400">
              <a:solidFill>
                <a:schemeClr val="tx1"/>
              </a:solid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nach</a:t>
              </a:r>
            </a:p>
          </p:txBody>
        </p:sp>
        <p:sp>
          <p:nvSpPr>
            <p:cNvPr id="47" name="Rectangle: Rounded Corners 168">
              <a:extLst>
                <a:ext uri="{FF2B5EF4-FFF2-40B4-BE49-F238E27FC236}">
                  <a16:creationId xmlns:a16="http://schemas.microsoft.com/office/drawing/2014/main" id="{6B37CC39-31CF-7D67-66CA-0B35C2EB56DB}"/>
                </a:ext>
              </a:extLst>
            </p:cNvPr>
            <p:cNvSpPr/>
            <p:nvPr/>
          </p:nvSpPr>
          <p:spPr bwMode="auto">
            <a:xfrm>
              <a:off x="1874027" y="5229515"/>
              <a:ext cx="1256596" cy="369332"/>
            </a:xfrm>
            <a:prstGeom prst="roundRect">
              <a:avLst/>
            </a:prstGeom>
            <a:noFill/>
            <a:ln w="25400">
              <a:solidFill>
                <a:schemeClr val="tx1"/>
              </a:solid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New</a:t>
              </a:r>
            </a:p>
          </p:txBody>
        </p:sp>
        <p:sp>
          <p:nvSpPr>
            <p:cNvPr id="48" name="Rectangle: Rounded Corners 169">
              <a:extLst>
                <a:ext uri="{FF2B5EF4-FFF2-40B4-BE49-F238E27FC236}">
                  <a16:creationId xmlns:a16="http://schemas.microsoft.com/office/drawing/2014/main" id="{CC837917-28A4-B38A-33BB-F0C9B6E669AF}"/>
                </a:ext>
              </a:extLst>
            </p:cNvPr>
            <p:cNvSpPr/>
            <p:nvPr/>
          </p:nvSpPr>
          <p:spPr bwMode="auto">
            <a:xfrm>
              <a:off x="2600606" y="839498"/>
              <a:ext cx="1824073" cy="447638"/>
            </a:xfrm>
            <a:prstGeom prst="roundRect">
              <a:avLst/>
            </a:prstGeom>
            <a:noFill/>
            <a:ln w="25400">
              <a:solidFill>
                <a:schemeClr val="tx1"/>
              </a:solid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Input Layer</a:t>
              </a:r>
            </a:p>
          </p:txBody>
        </p:sp>
        <p:sp>
          <p:nvSpPr>
            <p:cNvPr id="49" name="Rectangle: Rounded Corners 170">
              <a:extLst>
                <a:ext uri="{FF2B5EF4-FFF2-40B4-BE49-F238E27FC236}">
                  <a16:creationId xmlns:a16="http://schemas.microsoft.com/office/drawing/2014/main" id="{09BABEF6-7988-192A-2749-C6643A2CCC1A}"/>
                </a:ext>
              </a:extLst>
            </p:cNvPr>
            <p:cNvSpPr/>
            <p:nvPr/>
          </p:nvSpPr>
          <p:spPr bwMode="auto">
            <a:xfrm>
              <a:off x="5288942" y="833416"/>
              <a:ext cx="2135986" cy="447638"/>
            </a:xfrm>
            <a:prstGeom prst="roundRect">
              <a:avLst/>
            </a:prstGeom>
            <a:noFill/>
            <a:ln w="25400">
              <a:solidFill>
                <a:schemeClr val="tx1"/>
              </a:solid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Hidden Layer(s)</a:t>
              </a:r>
            </a:p>
          </p:txBody>
        </p:sp>
        <p:sp>
          <p:nvSpPr>
            <p:cNvPr id="50" name="Rectangle: Rounded Corners 171">
              <a:extLst>
                <a:ext uri="{FF2B5EF4-FFF2-40B4-BE49-F238E27FC236}">
                  <a16:creationId xmlns:a16="http://schemas.microsoft.com/office/drawing/2014/main" id="{0E06435A-C315-8E5D-AC72-766E11FB2972}"/>
                </a:ext>
              </a:extLst>
            </p:cNvPr>
            <p:cNvSpPr/>
            <p:nvPr/>
          </p:nvSpPr>
          <p:spPr bwMode="auto">
            <a:xfrm>
              <a:off x="7954182" y="867854"/>
              <a:ext cx="1824073" cy="447638"/>
            </a:xfrm>
            <a:prstGeom prst="roundRect">
              <a:avLst/>
            </a:prstGeom>
            <a:noFill/>
            <a:ln w="25400">
              <a:solidFill>
                <a:schemeClr val="tx1"/>
              </a:solid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Output Layer</a:t>
              </a:r>
            </a:p>
          </p:txBody>
        </p:sp>
        <p:cxnSp>
          <p:nvCxnSpPr>
            <p:cNvPr id="51" name="Straight Arrow Connector 172">
              <a:extLst>
                <a:ext uri="{FF2B5EF4-FFF2-40B4-BE49-F238E27FC236}">
                  <a16:creationId xmlns:a16="http://schemas.microsoft.com/office/drawing/2014/main" id="{29C0F807-76D4-411F-DD12-8D9C2DB760E8}"/>
                </a:ext>
              </a:extLst>
            </p:cNvPr>
            <p:cNvCxnSpPr>
              <a:cxnSpLocks/>
              <a:endCxn id="52" idx="1"/>
            </p:cNvCxnSpPr>
            <p:nvPr/>
          </p:nvCxnSpPr>
          <p:spPr>
            <a:xfrm>
              <a:off x="8863213" y="3706698"/>
              <a:ext cx="1002858" cy="15929"/>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52" name="Rectangle: Rounded Corners 174">
              <a:extLst>
                <a:ext uri="{FF2B5EF4-FFF2-40B4-BE49-F238E27FC236}">
                  <a16:creationId xmlns:a16="http://schemas.microsoft.com/office/drawing/2014/main" id="{67FE563C-581C-8029-420E-8403CDE2868F}"/>
                </a:ext>
              </a:extLst>
            </p:cNvPr>
            <p:cNvSpPr/>
            <p:nvPr/>
          </p:nvSpPr>
          <p:spPr bwMode="auto">
            <a:xfrm>
              <a:off x="9866071" y="3498809"/>
              <a:ext cx="1316379" cy="447636"/>
            </a:xfrm>
            <a:prstGeom prst="roundRect">
              <a:avLst/>
            </a:prstGeom>
            <a:noFill/>
            <a:ln w="25400">
              <a:solidFill>
                <a:schemeClr val="tx1"/>
              </a:solidFill>
              <a:round/>
              <a:headEnd type="arrow"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York</a:t>
              </a:r>
            </a:p>
          </p:txBody>
        </p:sp>
      </p:grpSp>
      <p:sp>
        <p:nvSpPr>
          <p:cNvPr id="54" name="Textfeld 53">
            <a:extLst>
              <a:ext uri="{FF2B5EF4-FFF2-40B4-BE49-F238E27FC236}">
                <a16:creationId xmlns:a16="http://schemas.microsoft.com/office/drawing/2014/main" id="{109E170E-361B-D65E-BEF3-212642EE0C2A}"/>
              </a:ext>
            </a:extLst>
          </p:cNvPr>
          <p:cNvSpPr txBox="1"/>
          <p:nvPr/>
        </p:nvSpPr>
        <p:spPr>
          <a:xfrm>
            <a:off x="8342871" y="3820238"/>
            <a:ext cx="711517" cy="215164"/>
          </a:xfrm>
          <a:prstGeom prst="rect">
            <a:avLst/>
          </a:prstGeom>
          <a:solidFill>
            <a:schemeClr val="bg1"/>
          </a:solidFill>
        </p:spPr>
        <p:txBody>
          <a:bodyPr vert="horz" wrap="square" lIns="0" tIns="0" rIns="0" bIns="0" rtlCol="0">
            <a:noAutofit/>
          </a:bodyPr>
          <a:lstStyle/>
          <a:p>
            <a:pPr algn="ctr" defTabSz="822960">
              <a:defRPr/>
            </a:pPr>
            <a:r>
              <a:rPr lang="en-US" sz="1260">
                <a:solidFill>
                  <a:srgbClr val="4B4B4B"/>
                </a:solidFill>
                <a:latin typeface="Trebuchet MS"/>
              </a:rPr>
              <a:t>?</a:t>
            </a:r>
          </a:p>
        </p:txBody>
      </p:sp>
      <p:sp>
        <p:nvSpPr>
          <p:cNvPr id="55" name="Rechteck 7">
            <a:extLst>
              <a:ext uri="{FF2B5EF4-FFF2-40B4-BE49-F238E27FC236}">
                <a16:creationId xmlns:a16="http://schemas.microsoft.com/office/drawing/2014/main" id="{9F2B10A6-DBFB-D183-5231-7368B2211362}"/>
              </a:ext>
            </a:extLst>
          </p:cNvPr>
          <p:cNvSpPr/>
          <p:nvPr/>
        </p:nvSpPr>
        <p:spPr bwMode="auto">
          <a:xfrm>
            <a:off x="12399455" y="342900"/>
            <a:ext cx="1988820" cy="1457326"/>
          </a:xfrm>
          <a:prstGeom prst="rect">
            <a:avLst/>
          </a:prstGeom>
          <a:solidFill>
            <a:schemeClr val="bg2"/>
          </a:solidFill>
          <a:ln w="12700" cap="flat" cmpd="sng" algn="ctr">
            <a:solidFill>
              <a:srgbClr val="C0C0C0"/>
            </a:solid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defRPr/>
            </a:pPr>
            <a:r>
              <a:rPr lang="de-DE" sz="720">
                <a:solidFill>
                  <a:srgbClr val="000000"/>
                </a:solidFill>
              </a:rPr>
              <a:t>Quellen:</a:t>
            </a:r>
          </a:p>
          <a:p>
            <a:pPr defTabSz="901542">
              <a:defRPr/>
            </a:pPr>
            <a:endParaRPr lang="de-DE" sz="720">
              <a:solidFill>
                <a:srgbClr val="000000"/>
              </a:solidFill>
            </a:endParaRPr>
          </a:p>
        </p:txBody>
      </p:sp>
      <p:graphicFrame>
        <p:nvGraphicFramePr>
          <p:cNvPr id="5" name="Table 228">
            <a:extLst>
              <a:ext uri="{FF2B5EF4-FFF2-40B4-BE49-F238E27FC236}">
                <a16:creationId xmlns:a16="http://schemas.microsoft.com/office/drawing/2014/main" id="{9FF5EF7B-D484-FD50-D802-A3D39988ABA7}"/>
              </a:ext>
            </a:extLst>
          </p:cNvPr>
          <p:cNvGraphicFramePr>
            <a:graphicFrameLocks noGrp="1"/>
          </p:cNvGraphicFramePr>
          <p:nvPr/>
        </p:nvGraphicFramePr>
        <p:xfrm>
          <a:off x="7537788" y="4226304"/>
          <a:ext cx="2170801" cy="1477636"/>
        </p:xfrm>
        <a:graphic>
          <a:graphicData uri="http://schemas.openxmlformats.org/drawingml/2006/table">
            <a:tbl>
              <a:tblPr firstRow="1" bandRow="1">
                <a:tableStyleId>{F5AB1C69-6EDB-4FF4-983F-18BD219EF322}</a:tableStyleId>
              </a:tblPr>
              <a:tblGrid>
                <a:gridCol w="672677">
                  <a:extLst>
                    <a:ext uri="{9D8B030D-6E8A-4147-A177-3AD203B41FA5}">
                      <a16:colId xmlns:a16="http://schemas.microsoft.com/office/drawing/2014/main" val="1718547932"/>
                    </a:ext>
                  </a:extLst>
                </a:gridCol>
                <a:gridCol w="1498124">
                  <a:extLst>
                    <a:ext uri="{9D8B030D-6E8A-4147-A177-3AD203B41FA5}">
                      <a16:colId xmlns:a16="http://schemas.microsoft.com/office/drawing/2014/main" val="83277281"/>
                    </a:ext>
                  </a:extLst>
                </a:gridCol>
              </a:tblGrid>
              <a:tr h="392928">
                <a:tc>
                  <a:txBody>
                    <a:bodyPr/>
                    <a:lstStyle/>
                    <a:p>
                      <a:r>
                        <a:rPr lang="de-DE" sz="1100"/>
                        <a:t>Wort</a:t>
                      </a:r>
                    </a:p>
                  </a:txBody>
                  <a:tcPr marL="66865" marR="66865" marT="33433" marB="33433"/>
                </a:tc>
                <a:tc>
                  <a:txBody>
                    <a:bodyPr/>
                    <a:lstStyle/>
                    <a:p>
                      <a:r>
                        <a:rPr lang="de-DE" sz="1100"/>
                        <a:t>Wahrscheinlichkeit</a:t>
                      </a:r>
                    </a:p>
                  </a:txBody>
                  <a:tcPr marL="66865" marR="66865" marT="33433" marB="33433"/>
                </a:tc>
                <a:extLst>
                  <a:ext uri="{0D108BD9-81ED-4DB2-BD59-A6C34878D82A}">
                    <a16:rowId xmlns:a16="http://schemas.microsoft.com/office/drawing/2014/main" val="284187893"/>
                  </a:ext>
                </a:extLst>
              </a:tr>
              <a:tr h="271177">
                <a:tc>
                  <a:txBody>
                    <a:bodyPr/>
                    <a:lstStyle/>
                    <a:p>
                      <a:r>
                        <a:rPr lang="de-DE" sz="1100"/>
                        <a:t>York</a:t>
                      </a:r>
                    </a:p>
                  </a:txBody>
                  <a:tcPr marL="66865" marR="66865" marT="33433" marB="33433"/>
                </a:tc>
                <a:tc>
                  <a:txBody>
                    <a:bodyPr/>
                    <a:lstStyle/>
                    <a:p>
                      <a:r>
                        <a:rPr lang="de-DE" sz="1100"/>
                        <a:t>80%</a:t>
                      </a:r>
                    </a:p>
                  </a:txBody>
                  <a:tcPr marL="66865" marR="66865" marT="33433" marB="33433"/>
                </a:tc>
                <a:extLst>
                  <a:ext uri="{0D108BD9-81ED-4DB2-BD59-A6C34878D82A}">
                    <a16:rowId xmlns:a16="http://schemas.microsoft.com/office/drawing/2014/main" val="662182397"/>
                  </a:ext>
                </a:extLst>
              </a:tr>
              <a:tr h="271177">
                <a:tc>
                  <a:txBody>
                    <a:bodyPr/>
                    <a:lstStyle/>
                    <a:p>
                      <a:r>
                        <a:rPr lang="de-DE" sz="1100"/>
                        <a:t>Jersey</a:t>
                      </a:r>
                    </a:p>
                  </a:txBody>
                  <a:tcPr marL="66865" marR="66865" marT="33433" marB="33433"/>
                </a:tc>
                <a:tc>
                  <a:txBody>
                    <a:bodyPr/>
                    <a:lstStyle/>
                    <a:p>
                      <a:r>
                        <a:rPr lang="de-DE" sz="1100"/>
                        <a:t>15%</a:t>
                      </a:r>
                    </a:p>
                  </a:txBody>
                  <a:tcPr marL="66865" marR="66865" marT="33433" marB="33433"/>
                </a:tc>
                <a:extLst>
                  <a:ext uri="{0D108BD9-81ED-4DB2-BD59-A6C34878D82A}">
                    <a16:rowId xmlns:a16="http://schemas.microsoft.com/office/drawing/2014/main" val="3043840586"/>
                  </a:ext>
                </a:extLst>
              </a:tr>
              <a:tr h="271177">
                <a:tc>
                  <a:txBody>
                    <a:bodyPr/>
                    <a:lstStyle/>
                    <a:p>
                      <a:r>
                        <a:rPr lang="de-DE" sz="1100"/>
                        <a:t>London</a:t>
                      </a:r>
                    </a:p>
                  </a:txBody>
                  <a:tcPr marL="66865" marR="66865" marT="33433" marB="33433"/>
                </a:tc>
                <a:tc>
                  <a:txBody>
                    <a:bodyPr/>
                    <a:lstStyle/>
                    <a:p>
                      <a:r>
                        <a:rPr lang="de-DE" sz="1100"/>
                        <a:t>1%</a:t>
                      </a:r>
                    </a:p>
                  </a:txBody>
                  <a:tcPr marL="66865" marR="66865" marT="33433" marB="33433"/>
                </a:tc>
                <a:extLst>
                  <a:ext uri="{0D108BD9-81ED-4DB2-BD59-A6C34878D82A}">
                    <a16:rowId xmlns:a16="http://schemas.microsoft.com/office/drawing/2014/main" val="1752971103"/>
                  </a:ext>
                </a:extLst>
              </a:tr>
              <a:tr h="271177">
                <a:tc>
                  <a:txBody>
                    <a:bodyPr/>
                    <a:lstStyle/>
                    <a:p>
                      <a:r>
                        <a:rPr lang="de-DE" sz="1100"/>
                        <a:t>…</a:t>
                      </a:r>
                    </a:p>
                  </a:txBody>
                  <a:tcPr marL="66865" marR="66865" marT="33433" marB="33433"/>
                </a:tc>
                <a:tc>
                  <a:txBody>
                    <a:bodyPr/>
                    <a:lstStyle/>
                    <a:p>
                      <a:r>
                        <a:rPr lang="de-DE" sz="1100"/>
                        <a:t>….</a:t>
                      </a:r>
                    </a:p>
                  </a:txBody>
                  <a:tcPr marL="66865" marR="66865" marT="33433" marB="33433"/>
                </a:tc>
                <a:extLst>
                  <a:ext uri="{0D108BD9-81ED-4DB2-BD59-A6C34878D82A}">
                    <a16:rowId xmlns:a16="http://schemas.microsoft.com/office/drawing/2014/main" val="1955895955"/>
                  </a:ext>
                </a:extLst>
              </a:tr>
            </a:tbl>
          </a:graphicData>
        </a:graphic>
      </p:graphicFrame>
    </p:spTree>
    <p:extLst>
      <p:ext uri="{BB962C8B-B14F-4D97-AF65-F5344CB8AC3E}">
        <p14:creationId xmlns:p14="http://schemas.microsoft.com/office/powerpoint/2010/main" val="2034000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54"/>
                                        </p:tgtEl>
                                      </p:cBhvr>
                                    </p:animEffect>
                                    <p:set>
                                      <p:cBhvr>
                                        <p:cTn id="7" dur="1" fill="hold">
                                          <p:stCondLst>
                                            <p:cond delay="499"/>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505C1-AD1B-7419-B43E-DF4EEEC6201B}"/>
              </a:ext>
            </a:extLst>
          </p:cNvPr>
          <p:cNvSpPr>
            <a:spLocks noGrp="1"/>
          </p:cNvSpPr>
          <p:nvPr>
            <p:ph type="title"/>
          </p:nvPr>
        </p:nvSpPr>
        <p:spPr/>
        <p:txBody>
          <a:bodyPr/>
          <a:lstStyle/>
          <a:p>
            <a:r>
              <a:rPr lang="de-DE" err="1"/>
              <a:t>Conversational</a:t>
            </a:r>
            <a:r>
              <a:rPr lang="de-DE"/>
              <a:t> </a:t>
            </a:r>
            <a:r>
              <a:rPr lang="de-DE" err="1"/>
              <a:t>Agents</a:t>
            </a:r>
            <a:endParaRPr lang="de-DE"/>
          </a:p>
        </p:txBody>
      </p:sp>
      <p:sp>
        <p:nvSpPr>
          <p:cNvPr id="4" name="Foliennummernplatzhalter 3">
            <a:extLst>
              <a:ext uri="{FF2B5EF4-FFF2-40B4-BE49-F238E27FC236}">
                <a16:creationId xmlns:a16="http://schemas.microsoft.com/office/drawing/2014/main" id="{D7EFACED-2A84-CD77-B7E8-06EFBCE07E8E}"/>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34</a:t>
            </a:fld>
            <a:endParaRPr lang="en-US" sz="810">
              <a:solidFill>
                <a:srgbClr val="889194"/>
              </a:solidFill>
              <a:latin typeface="Trebuchet MS"/>
            </a:endParaRPr>
          </a:p>
        </p:txBody>
      </p:sp>
      <p:sp>
        <p:nvSpPr>
          <p:cNvPr id="7" name="Inhaltsplatzhalter 6">
            <a:extLst>
              <a:ext uri="{FF2B5EF4-FFF2-40B4-BE49-F238E27FC236}">
                <a16:creationId xmlns:a16="http://schemas.microsoft.com/office/drawing/2014/main" id="{C67139D3-D63A-6849-703F-3D6178257B12}"/>
              </a:ext>
            </a:extLst>
          </p:cNvPr>
          <p:cNvSpPr>
            <a:spLocks noGrp="1"/>
          </p:cNvSpPr>
          <p:nvPr>
            <p:ph sz="quarter" idx="17"/>
          </p:nvPr>
        </p:nvSpPr>
        <p:spPr/>
        <p:txBody>
          <a:bodyPr/>
          <a:lstStyle/>
          <a:p>
            <a:endParaRPr lang="de-DE"/>
          </a:p>
        </p:txBody>
      </p:sp>
      <p:grpSp>
        <p:nvGrpSpPr>
          <p:cNvPr id="59" name="Gruppieren 58">
            <a:extLst>
              <a:ext uri="{FF2B5EF4-FFF2-40B4-BE49-F238E27FC236}">
                <a16:creationId xmlns:a16="http://schemas.microsoft.com/office/drawing/2014/main" id="{59EEFC56-0B63-0734-A158-11F2E385B347}"/>
              </a:ext>
            </a:extLst>
          </p:cNvPr>
          <p:cNvGrpSpPr/>
          <p:nvPr/>
        </p:nvGrpSpPr>
        <p:grpSpPr>
          <a:xfrm>
            <a:off x="8501198" y="1584688"/>
            <a:ext cx="2732806" cy="4241755"/>
            <a:chOff x="8768442" y="1379764"/>
            <a:chExt cx="3036451" cy="4713061"/>
          </a:xfrm>
        </p:grpSpPr>
        <p:sp>
          <p:nvSpPr>
            <p:cNvPr id="60" name="Rechteck: abgerundete Ecken 59">
              <a:extLst>
                <a:ext uri="{FF2B5EF4-FFF2-40B4-BE49-F238E27FC236}">
                  <a16:creationId xmlns:a16="http://schemas.microsoft.com/office/drawing/2014/main" id="{D3682D2D-27AC-8D6A-8F53-51C24A1EFCF8}"/>
                </a:ext>
              </a:extLst>
            </p:cNvPr>
            <p:cNvSpPr/>
            <p:nvPr/>
          </p:nvSpPr>
          <p:spPr>
            <a:xfrm>
              <a:off x="8768442" y="1379764"/>
              <a:ext cx="3036451" cy="4713061"/>
            </a:xfrm>
            <a:prstGeom prst="roundRect">
              <a:avLst/>
            </a:prstGeom>
            <a:solidFill>
              <a:schemeClr val="accent4"/>
            </a:solidFill>
            <a:ln>
              <a:solidFill>
                <a:schemeClr val="tx2"/>
              </a:solid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en-US" sz="1300" dirty="0">
                  <a:solidFill>
                    <a:srgbClr val="004080"/>
                  </a:solidFill>
                  <a:latin typeface="Arial" panose="020B0604020202020204" pitchFamily="34" charset="0"/>
                  <a:cs typeface="Arial" panose="020B0604020202020204" pitchFamily="34" charset="0"/>
                </a:rPr>
                <a:t>ARTIFICAL INTELLIGENCE</a:t>
              </a:r>
            </a:p>
          </p:txBody>
        </p:sp>
        <p:sp>
          <p:nvSpPr>
            <p:cNvPr id="61" name="Rechteck: abgerundete Ecken 60">
              <a:extLst>
                <a:ext uri="{FF2B5EF4-FFF2-40B4-BE49-F238E27FC236}">
                  <a16:creationId xmlns:a16="http://schemas.microsoft.com/office/drawing/2014/main" id="{A9C57DB3-162F-D3AF-17F0-FF6F1D673121}"/>
                </a:ext>
              </a:extLst>
            </p:cNvPr>
            <p:cNvSpPr/>
            <p:nvPr/>
          </p:nvSpPr>
          <p:spPr>
            <a:xfrm>
              <a:off x="8782729" y="1918067"/>
              <a:ext cx="2418336" cy="4115339"/>
            </a:xfrm>
            <a:prstGeom prst="roundRect">
              <a:avLst/>
            </a:prstGeom>
            <a:solidFill>
              <a:schemeClr val="accent2">
                <a:lumMod val="40000"/>
                <a:lumOff val="60000"/>
              </a:schemeClr>
            </a:solidFill>
            <a:ln>
              <a:no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de-DE" sz="990">
                  <a:solidFill>
                    <a:srgbClr val="004080"/>
                  </a:solidFill>
                  <a:latin typeface="Arial" panose="020B0604020202020204" pitchFamily="34" charset="0"/>
                  <a:cs typeface="Arial" panose="020B0604020202020204" pitchFamily="34" charset="0"/>
                </a:rPr>
                <a:t>MACHINE LEARNING</a:t>
              </a:r>
            </a:p>
          </p:txBody>
        </p:sp>
        <p:sp>
          <p:nvSpPr>
            <p:cNvPr id="62" name="Rechteck: abgerundete Ecken 61">
              <a:extLst>
                <a:ext uri="{FF2B5EF4-FFF2-40B4-BE49-F238E27FC236}">
                  <a16:creationId xmlns:a16="http://schemas.microsoft.com/office/drawing/2014/main" id="{629FE270-B6AE-DBD0-E442-0D666DF7493D}"/>
                </a:ext>
              </a:extLst>
            </p:cNvPr>
            <p:cNvSpPr/>
            <p:nvPr/>
          </p:nvSpPr>
          <p:spPr>
            <a:xfrm>
              <a:off x="8768442" y="2297794"/>
              <a:ext cx="2146332" cy="3672794"/>
            </a:xfrm>
            <a:prstGeom prst="round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de-DE" sz="990">
                  <a:solidFill>
                    <a:srgbClr val="FFFFFF"/>
                  </a:solidFill>
                  <a:latin typeface="Arial" panose="020B0604020202020204" pitchFamily="34" charset="0"/>
                  <a:cs typeface="Arial" panose="020B0604020202020204" pitchFamily="34" charset="0"/>
                </a:rPr>
                <a:t>GENERATIVE AI</a:t>
              </a:r>
            </a:p>
          </p:txBody>
        </p:sp>
        <p:sp>
          <p:nvSpPr>
            <p:cNvPr id="63" name="Rechteck: abgerundete Ecken 62">
              <a:extLst>
                <a:ext uri="{FF2B5EF4-FFF2-40B4-BE49-F238E27FC236}">
                  <a16:creationId xmlns:a16="http://schemas.microsoft.com/office/drawing/2014/main" id="{24DB9683-EA9C-C517-9605-B1205A102FF3}"/>
                </a:ext>
              </a:extLst>
            </p:cNvPr>
            <p:cNvSpPr/>
            <p:nvPr/>
          </p:nvSpPr>
          <p:spPr>
            <a:xfrm>
              <a:off x="8768442" y="2637337"/>
              <a:ext cx="1866782" cy="3290886"/>
            </a:xfrm>
            <a:prstGeom prst="round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de-DE" sz="990">
                  <a:solidFill>
                    <a:srgbClr val="FFFFFF"/>
                  </a:solidFill>
                  <a:latin typeface="Arial" panose="020B0604020202020204" pitchFamily="34" charset="0"/>
                  <a:cs typeface="Arial" panose="020B0604020202020204" pitchFamily="34" charset="0"/>
                </a:rPr>
                <a:t>LARGE LANGUAGE MODELS</a:t>
              </a:r>
            </a:p>
            <a:p>
              <a:pPr defTabSz="822960">
                <a:defRPr/>
              </a:pPr>
              <a:endParaRPr lang="de-DE" sz="990">
                <a:solidFill>
                  <a:srgbClr val="FFFFFF"/>
                </a:solidFill>
                <a:latin typeface="Arial" panose="020B0604020202020204" pitchFamily="34" charset="0"/>
                <a:cs typeface="Arial" panose="020B0604020202020204" pitchFamily="34" charset="0"/>
              </a:endParaRPr>
            </a:p>
            <a:p>
              <a:pPr defTabSz="822960">
                <a:defRPr/>
              </a:pPr>
              <a:endParaRPr lang="de-DE" sz="990">
                <a:solidFill>
                  <a:srgbClr val="FFFFFF"/>
                </a:solidFill>
                <a:latin typeface="Arial" panose="020B0604020202020204" pitchFamily="34" charset="0"/>
                <a:cs typeface="Arial" panose="020B0604020202020204" pitchFamily="34" charset="0"/>
              </a:endParaRPr>
            </a:p>
          </p:txBody>
        </p:sp>
        <p:sp>
          <p:nvSpPr>
            <p:cNvPr id="64" name="Rechteck: abgerundete Ecken 63">
              <a:extLst>
                <a:ext uri="{FF2B5EF4-FFF2-40B4-BE49-F238E27FC236}">
                  <a16:creationId xmlns:a16="http://schemas.microsoft.com/office/drawing/2014/main" id="{9EA81D68-28AD-18F8-DE7A-8E73E9E7E5D8}"/>
                </a:ext>
              </a:extLst>
            </p:cNvPr>
            <p:cNvSpPr/>
            <p:nvPr/>
          </p:nvSpPr>
          <p:spPr>
            <a:xfrm>
              <a:off x="8782729" y="3822851"/>
              <a:ext cx="2728913" cy="1249061"/>
            </a:xfrm>
            <a:prstGeom prst="roundRect">
              <a:avLst/>
            </a:prstGeom>
            <a:solidFill>
              <a:srgbClr val="97CBFF"/>
            </a:solidFill>
            <a:ln>
              <a:no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de-DE" sz="990">
                  <a:solidFill>
                    <a:srgbClr val="000000"/>
                  </a:solidFill>
                  <a:latin typeface="Arial" panose="020B0604020202020204" pitchFamily="34" charset="0"/>
                  <a:cs typeface="Arial" panose="020B0604020202020204" pitchFamily="34" charset="0"/>
                </a:rPr>
                <a:t>CONVERSATIONAL AGENTS</a:t>
              </a:r>
            </a:p>
          </p:txBody>
        </p:sp>
        <p:sp>
          <p:nvSpPr>
            <p:cNvPr id="69" name="Textfeld 68">
              <a:extLst>
                <a:ext uri="{FF2B5EF4-FFF2-40B4-BE49-F238E27FC236}">
                  <a16:creationId xmlns:a16="http://schemas.microsoft.com/office/drawing/2014/main" id="{611A4DC1-ADD4-5D7A-4F03-91473FA47662}"/>
                </a:ext>
              </a:extLst>
            </p:cNvPr>
            <p:cNvSpPr txBox="1"/>
            <p:nvPr/>
          </p:nvSpPr>
          <p:spPr>
            <a:xfrm>
              <a:off x="9058774" y="5367931"/>
              <a:ext cx="1173880" cy="167416"/>
            </a:xfrm>
            <a:prstGeom prst="roundRect">
              <a:avLst/>
            </a:prstGeom>
            <a:solidFill>
              <a:schemeClr val="bg1"/>
            </a:solidFill>
          </p:spPr>
          <p:txBody>
            <a:bodyPr vert="horz" wrap="square" lIns="0" tIns="0" rIns="0" bIns="0" rtlCol="0" anchor="ctr">
              <a:noAutofit/>
            </a:bodyPr>
            <a:lstStyle/>
            <a:p>
              <a:pPr algn="ctr" defTabSz="822960">
                <a:defRPr/>
              </a:pPr>
              <a:r>
                <a:rPr lang="de-DE" sz="990">
                  <a:solidFill>
                    <a:srgbClr val="000000"/>
                  </a:solidFill>
                  <a:latin typeface="Arial" panose="020B0604020202020204" pitchFamily="34" charset="0"/>
                  <a:cs typeface="Arial" panose="020B0604020202020204" pitchFamily="34" charset="0"/>
                </a:rPr>
                <a:t>GPT-4</a:t>
              </a:r>
            </a:p>
          </p:txBody>
        </p:sp>
      </p:grpSp>
      <p:grpSp>
        <p:nvGrpSpPr>
          <p:cNvPr id="17" name="Gruppieren 16">
            <a:extLst>
              <a:ext uri="{FF2B5EF4-FFF2-40B4-BE49-F238E27FC236}">
                <a16:creationId xmlns:a16="http://schemas.microsoft.com/office/drawing/2014/main" id="{6B8B5BB9-30F0-2F47-914A-291DAB7CBF66}"/>
              </a:ext>
            </a:extLst>
          </p:cNvPr>
          <p:cNvGrpSpPr/>
          <p:nvPr/>
        </p:nvGrpSpPr>
        <p:grpSpPr>
          <a:xfrm>
            <a:off x="1105376" y="1719376"/>
            <a:ext cx="6981382" cy="1558516"/>
            <a:chOff x="550862" y="1529416"/>
            <a:chExt cx="7757091" cy="1731684"/>
          </a:xfrm>
        </p:grpSpPr>
        <p:sp>
          <p:nvSpPr>
            <p:cNvPr id="18" name="Textplatzhalter 5">
              <a:extLst>
                <a:ext uri="{FF2B5EF4-FFF2-40B4-BE49-F238E27FC236}">
                  <a16:creationId xmlns:a16="http://schemas.microsoft.com/office/drawing/2014/main" id="{F4AF0938-539A-2B4D-78DF-66F8767B73A3}"/>
                </a:ext>
              </a:extLst>
            </p:cNvPr>
            <p:cNvSpPr txBox="1">
              <a:spLocks/>
            </p:cNvSpPr>
            <p:nvPr/>
          </p:nvSpPr>
          <p:spPr>
            <a:xfrm>
              <a:off x="550874" y="1529416"/>
              <a:ext cx="7757079" cy="1731684"/>
            </a:xfrm>
            <a:prstGeom prst="roundRect">
              <a:avLst/>
            </a:prstGeom>
            <a:solidFill>
              <a:srgbClr val="FFFFFF"/>
            </a:solidFill>
            <a:effectLst>
              <a:outerShdw blurRad="63500" algn="ctr" rotWithShape="0">
                <a:prstClr val="black">
                  <a:alpha val="40000"/>
                </a:prstClr>
              </a:outerShdw>
            </a:effectLst>
          </p:spPr>
          <p:txBody>
            <a:bodyPr vert="horz" lIns="388800" tIns="97200" rIns="162000" bIns="97200" rtlCol="0" anchor="ctr">
              <a:noAutofit/>
            </a:bodyPr>
            <a:lstStyle>
              <a:lvl1pPr marL="0" indent="0" algn="l" defTabSz="742950" rtl="0" eaLnBrk="1" latinLnBrk="0" hangingPunct="1">
                <a:lnSpc>
                  <a:spcPct val="100000"/>
                </a:lnSpc>
                <a:spcBef>
                  <a:spcPts val="600"/>
                </a:spcBef>
                <a:buFont typeface="Wingdings" panose="05000000000000000000" pitchFamily="2" charset="2"/>
                <a:buNone/>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defTabSz="668656">
                <a:spcBef>
                  <a:spcPts val="540"/>
                </a:spcBef>
                <a:defRPr/>
              </a:pPr>
              <a:endParaRPr lang="de-DE" sz="1440" b="1">
                <a:solidFill>
                  <a:srgbClr val="368ECE"/>
                </a:solidFill>
                <a:latin typeface="Trebuchet MS"/>
              </a:endParaRPr>
            </a:p>
          </p:txBody>
        </p:sp>
        <p:sp>
          <p:nvSpPr>
            <p:cNvPr id="19" name="Rechteck 18">
              <a:extLst>
                <a:ext uri="{FF2B5EF4-FFF2-40B4-BE49-F238E27FC236}">
                  <a16:creationId xmlns:a16="http://schemas.microsoft.com/office/drawing/2014/main" id="{B291BBFC-4221-0CA3-4006-4881775261D5}"/>
                </a:ext>
              </a:extLst>
            </p:cNvPr>
            <p:cNvSpPr/>
            <p:nvPr/>
          </p:nvSpPr>
          <p:spPr>
            <a:xfrm>
              <a:off x="550862" y="1529416"/>
              <a:ext cx="7757079" cy="3605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de-DE" sz="1440" b="1">
                  <a:solidFill>
                    <a:srgbClr val="FFFFFF"/>
                  </a:solidFill>
                  <a:latin typeface="Trebuchet MS"/>
                </a:rPr>
                <a:t>Was sind </a:t>
              </a:r>
              <a:r>
                <a:rPr lang="de-DE" sz="1440" b="1" err="1">
                  <a:solidFill>
                    <a:srgbClr val="FFFFFF"/>
                  </a:solidFill>
                  <a:latin typeface="Trebuchet MS"/>
                </a:rPr>
                <a:t>Conversational</a:t>
              </a:r>
              <a:r>
                <a:rPr lang="de-DE" sz="1440" b="1">
                  <a:solidFill>
                    <a:srgbClr val="FFFFFF"/>
                  </a:solidFill>
                  <a:latin typeface="Trebuchet MS"/>
                </a:rPr>
                <a:t> </a:t>
              </a:r>
              <a:r>
                <a:rPr lang="de-DE" sz="1440" b="1" err="1">
                  <a:solidFill>
                    <a:srgbClr val="FFFFFF"/>
                  </a:solidFill>
                  <a:latin typeface="Trebuchet MS"/>
                </a:rPr>
                <a:t>Agents</a:t>
              </a:r>
              <a:r>
                <a:rPr lang="de-DE" sz="1440" b="1">
                  <a:solidFill>
                    <a:srgbClr val="FFFFFF"/>
                  </a:solidFill>
                  <a:latin typeface="Trebuchet MS"/>
                </a:rPr>
                <a:t>?</a:t>
              </a:r>
              <a:endParaRPr lang="de-DE" sz="1260" b="1">
                <a:solidFill>
                  <a:srgbClr val="FFFFFF"/>
                </a:solidFill>
                <a:latin typeface="Trebuchet MS"/>
              </a:endParaRPr>
            </a:p>
          </p:txBody>
        </p:sp>
        <p:pic>
          <p:nvPicPr>
            <p:cNvPr id="20" name="Grafik 19" descr="Schließendes Anführungszeichen mit einfarbiger Füllung">
              <a:extLst>
                <a:ext uri="{FF2B5EF4-FFF2-40B4-BE49-F238E27FC236}">
                  <a16:creationId xmlns:a16="http://schemas.microsoft.com/office/drawing/2014/main" id="{5E0D433D-4E74-8AB1-198A-BCECE87598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795393" y="1969141"/>
              <a:ext cx="1186978" cy="1186978"/>
            </a:xfrm>
            <a:prstGeom prst="rect">
              <a:avLst/>
            </a:prstGeom>
          </p:spPr>
        </p:pic>
        <p:sp>
          <p:nvSpPr>
            <p:cNvPr id="21" name="Textfeld 20">
              <a:extLst>
                <a:ext uri="{FF2B5EF4-FFF2-40B4-BE49-F238E27FC236}">
                  <a16:creationId xmlns:a16="http://schemas.microsoft.com/office/drawing/2014/main" id="{176D35A8-A1A9-F011-5BC6-7D25851BEE43}"/>
                </a:ext>
              </a:extLst>
            </p:cNvPr>
            <p:cNvSpPr txBox="1"/>
            <p:nvPr/>
          </p:nvSpPr>
          <p:spPr>
            <a:xfrm>
              <a:off x="720393" y="1969141"/>
              <a:ext cx="5892074" cy="978795"/>
            </a:xfrm>
            <a:prstGeom prst="rect">
              <a:avLst/>
            </a:prstGeom>
          </p:spPr>
          <p:txBody>
            <a:bodyPr vert="horz" wrap="square" lIns="0" tIns="0" rIns="0" bIns="0" rtlCol="0">
              <a:noAutofit/>
            </a:bodyPr>
            <a:lstStyle/>
            <a:p>
              <a:pPr defTabSz="822960">
                <a:defRPr/>
              </a:pPr>
              <a:r>
                <a:rPr lang="de-DE" sz="1440" err="1">
                  <a:solidFill>
                    <a:srgbClr val="000000"/>
                  </a:solidFill>
                  <a:latin typeface="Trebuchet MS"/>
                </a:rPr>
                <a:t>Conversational</a:t>
              </a:r>
              <a:r>
                <a:rPr lang="de-DE" sz="1440">
                  <a:solidFill>
                    <a:srgbClr val="000000"/>
                  </a:solidFill>
                  <a:latin typeface="Trebuchet MS"/>
                </a:rPr>
                <a:t> </a:t>
              </a:r>
              <a:r>
                <a:rPr lang="de-DE" sz="1440" err="1">
                  <a:solidFill>
                    <a:srgbClr val="000000"/>
                  </a:solidFill>
                  <a:latin typeface="Trebuchet MS"/>
                </a:rPr>
                <a:t>Agents</a:t>
              </a:r>
              <a:r>
                <a:rPr lang="de-DE" sz="1440">
                  <a:solidFill>
                    <a:srgbClr val="000000"/>
                  </a:solidFill>
                  <a:latin typeface="Trebuchet MS"/>
                </a:rPr>
                <a:t>, auch bekannt als Chatbots, sind KI-gesteuerte Systeme, die </a:t>
              </a:r>
              <a:r>
                <a:rPr lang="de-DE" sz="1440" b="1">
                  <a:solidFill>
                    <a:srgbClr val="000000"/>
                  </a:solidFill>
                  <a:latin typeface="Trebuchet MS"/>
                </a:rPr>
                <a:t>natürlichsprachliche Unterhaltungen mit Menschen führen</a:t>
              </a:r>
              <a:r>
                <a:rPr lang="de-DE" sz="1440">
                  <a:solidFill>
                    <a:srgbClr val="000000"/>
                  </a:solidFill>
                  <a:latin typeface="Trebuchet MS"/>
                </a:rPr>
                <a:t>. Sie werden zunehmend für Aufgaben wie Kundenservice, persönliche Assistenz und Unterhaltung eingesetzt. </a:t>
              </a:r>
              <a:endParaRPr lang="en-US" sz="1260">
                <a:solidFill>
                  <a:srgbClr val="889194">
                    <a:lumMod val="75000"/>
                  </a:srgbClr>
                </a:solidFill>
                <a:latin typeface="Trebuchet MS"/>
              </a:endParaRPr>
            </a:p>
          </p:txBody>
        </p:sp>
      </p:grpSp>
      <p:sp>
        <p:nvSpPr>
          <p:cNvPr id="22" name="Textplatzhalter 5">
            <a:extLst>
              <a:ext uri="{FF2B5EF4-FFF2-40B4-BE49-F238E27FC236}">
                <a16:creationId xmlns:a16="http://schemas.microsoft.com/office/drawing/2014/main" id="{4B88E76A-49AA-3659-B72D-9FE6FA979D06}"/>
              </a:ext>
            </a:extLst>
          </p:cNvPr>
          <p:cNvSpPr txBox="1">
            <a:spLocks/>
          </p:cNvSpPr>
          <p:nvPr/>
        </p:nvSpPr>
        <p:spPr>
          <a:xfrm>
            <a:off x="1113800" y="3605133"/>
            <a:ext cx="6981371" cy="1830802"/>
          </a:xfrm>
          <a:prstGeom prst="roundRect">
            <a:avLst/>
          </a:prstGeom>
          <a:solidFill>
            <a:srgbClr val="FFFFFF"/>
          </a:solidFill>
          <a:effectLst>
            <a:outerShdw blurRad="63500" algn="ctr" rotWithShape="0">
              <a:prstClr val="black">
                <a:alpha val="40000"/>
              </a:prstClr>
            </a:outerShdw>
          </a:effectLst>
        </p:spPr>
        <p:txBody>
          <a:bodyPr vert="horz" lIns="388800" tIns="97200" rIns="162000" bIns="97200" rtlCol="0" anchor="ctr">
            <a:noAutofit/>
          </a:bodyPr>
          <a:lstStyle>
            <a:lvl1pPr marL="0" indent="0" algn="l" defTabSz="742950" rtl="0" eaLnBrk="1" latinLnBrk="0" hangingPunct="1">
              <a:lnSpc>
                <a:spcPct val="100000"/>
              </a:lnSpc>
              <a:spcBef>
                <a:spcPts val="600"/>
              </a:spcBef>
              <a:buFont typeface="Wingdings" panose="05000000000000000000" pitchFamily="2" charset="2"/>
              <a:buNone/>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defTabSz="668656">
              <a:spcBef>
                <a:spcPts val="540"/>
              </a:spcBef>
              <a:defRPr/>
            </a:pPr>
            <a:endParaRPr lang="de-DE" sz="1440" b="1">
              <a:solidFill>
                <a:srgbClr val="368ECE"/>
              </a:solidFill>
              <a:latin typeface="Trebuchet MS"/>
            </a:endParaRPr>
          </a:p>
        </p:txBody>
      </p:sp>
      <p:sp>
        <p:nvSpPr>
          <p:cNvPr id="23" name="Rechteck 22">
            <a:extLst>
              <a:ext uri="{FF2B5EF4-FFF2-40B4-BE49-F238E27FC236}">
                <a16:creationId xmlns:a16="http://schemas.microsoft.com/office/drawing/2014/main" id="{AAED9E48-3317-2EEF-3B0B-282DDFF8EBCF}"/>
              </a:ext>
            </a:extLst>
          </p:cNvPr>
          <p:cNvSpPr/>
          <p:nvPr/>
        </p:nvSpPr>
        <p:spPr>
          <a:xfrm>
            <a:off x="1113789" y="3605133"/>
            <a:ext cx="6981371" cy="324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de-DE" sz="1440" b="1">
                <a:solidFill>
                  <a:srgbClr val="FFFFFF"/>
                </a:solidFill>
                <a:latin typeface="Trebuchet MS"/>
              </a:rPr>
              <a:t>Varianten </a:t>
            </a:r>
            <a:endParaRPr lang="de-DE" sz="1260" b="1">
              <a:solidFill>
                <a:srgbClr val="FFFFFF"/>
              </a:solidFill>
              <a:latin typeface="Trebuchet MS"/>
            </a:endParaRPr>
          </a:p>
        </p:txBody>
      </p:sp>
      <p:pic>
        <p:nvPicPr>
          <p:cNvPr id="24" name="Grafik 23" descr="Untertitel mit einfarbiger Füllung">
            <a:extLst>
              <a:ext uri="{FF2B5EF4-FFF2-40B4-BE49-F238E27FC236}">
                <a16:creationId xmlns:a16="http://schemas.microsoft.com/office/drawing/2014/main" id="{95125C6A-606D-FABC-36C1-8D0D5504D8F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725454" y="4145389"/>
            <a:ext cx="1068281" cy="1068281"/>
          </a:xfrm>
          <a:prstGeom prst="rect">
            <a:avLst/>
          </a:prstGeom>
        </p:spPr>
      </p:pic>
      <p:sp>
        <p:nvSpPr>
          <p:cNvPr id="25" name="Textfeld 24">
            <a:extLst>
              <a:ext uri="{FF2B5EF4-FFF2-40B4-BE49-F238E27FC236}">
                <a16:creationId xmlns:a16="http://schemas.microsoft.com/office/drawing/2014/main" id="{A756B45E-6490-BAFC-9EB7-12A5B84F5A17}"/>
              </a:ext>
            </a:extLst>
          </p:cNvPr>
          <p:cNvSpPr txBox="1"/>
          <p:nvPr/>
        </p:nvSpPr>
        <p:spPr>
          <a:xfrm>
            <a:off x="1175622" y="4027005"/>
            <a:ext cx="5256809" cy="880915"/>
          </a:xfrm>
          <a:prstGeom prst="rect">
            <a:avLst/>
          </a:prstGeom>
        </p:spPr>
        <p:txBody>
          <a:bodyPr vert="horz" wrap="square" lIns="0" tIns="0" rIns="0" bIns="0" rtlCol="0">
            <a:noAutofit/>
          </a:bodyPr>
          <a:lstStyle/>
          <a:p>
            <a:pPr marL="257176" indent="-257176" defTabSz="822960">
              <a:buFont typeface="Arial" panose="020B0604020202020204" pitchFamily="34" charset="0"/>
              <a:buChar char="•"/>
              <a:defRPr/>
            </a:pPr>
            <a:r>
              <a:rPr lang="de-DE" sz="1440" b="1">
                <a:solidFill>
                  <a:srgbClr val="000000"/>
                </a:solidFill>
                <a:latin typeface="Trebuchet MS"/>
              </a:rPr>
              <a:t>Regelbasierte Systeme: </a:t>
            </a:r>
            <a:r>
              <a:rPr lang="de-DE" sz="1440">
                <a:solidFill>
                  <a:srgbClr val="000000"/>
                </a:solidFill>
                <a:latin typeface="Trebuchet MS"/>
              </a:rPr>
              <a:t>Folgen vordefinierten Gesprächsmustern</a:t>
            </a:r>
          </a:p>
          <a:p>
            <a:pPr marL="257176" indent="-257176" defTabSz="822960">
              <a:buFont typeface="Arial" panose="020B0604020202020204" pitchFamily="34" charset="0"/>
              <a:buChar char="•"/>
              <a:defRPr/>
            </a:pPr>
            <a:r>
              <a:rPr lang="de-DE" sz="1440" b="1">
                <a:solidFill>
                  <a:srgbClr val="000000"/>
                </a:solidFill>
                <a:latin typeface="Trebuchet MS"/>
              </a:rPr>
              <a:t>Abrufbasierte Systeme: </a:t>
            </a:r>
            <a:r>
              <a:rPr lang="de-DE" sz="1440">
                <a:solidFill>
                  <a:srgbClr val="000000"/>
                </a:solidFill>
                <a:latin typeface="Trebuchet MS"/>
              </a:rPr>
              <a:t>Wählen die Antworten aus einem vordefinierten Set an möglichen Antworten aus</a:t>
            </a:r>
          </a:p>
          <a:p>
            <a:pPr marL="257176" indent="-257176" defTabSz="822960">
              <a:buFont typeface="Arial" panose="020B0604020202020204" pitchFamily="34" charset="0"/>
              <a:buChar char="•"/>
              <a:defRPr/>
            </a:pPr>
            <a:r>
              <a:rPr lang="de-DE" sz="1440" b="1">
                <a:solidFill>
                  <a:srgbClr val="000000"/>
                </a:solidFill>
                <a:latin typeface="Trebuchet MS"/>
              </a:rPr>
              <a:t>Generative Modelle: </a:t>
            </a:r>
            <a:r>
              <a:rPr lang="de-DE" sz="1440">
                <a:solidFill>
                  <a:srgbClr val="000000"/>
                </a:solidFill>
                <a:latin typeface="Trebuchet MS"/>
              </a:rPr>
              <a:t>Erstellen die Antworten auf der Grundlage gelernter Muster selbst</a:t>
            </a:r>
          </a:p>
        </p:txBody>
      </p:sp>
    </p:spTree>
    <p:extLst>
      <p:ext uri="{BB962C8B-B14F-4D97-AF65-F5344CB8AC3E}">
        <p14:creationId xmlns:p14="http://schemas.microsoft.com/office/powerpoint/2010/main" val="35737390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505C1-AD1B-7419-B43E-DF4EEEC6201B}"/>
              </a:ext>
            </a:extLst>
          </p:cNvPr>
          <p:cNvSpPr>
            <a:spLocks noGrp="1"/>
          </p:cNvSpPr>
          <p:nvPr>
            <p:ph type="title"/>
          </p:nvPr>
        </p:nvSpPr>
        <p:spPr/>
        <p:txBody>
          <a:bodyPr/>
          <a:lstStyle/>
          <a:p>
            <a:r>
              <a:rPr lang="de-DE" err="1"/>
              <a:t>ChatGPT</a:t>
            </a:r>
            <a:r>
              <a:rPr lang="de-DE"/>
              <a:t> – Ein innovativer </a:t>
            </a:r>
            <a:r>
              <a:rPr lang="de-DE" err="1"/>
              <a:t>Conversational</a:t>
            </a:r>
            <a:r>
              <a:rPr lang="de-DE"/>
              <a:t> Agent</a:t>
            </a:r>
          </a:p>
        </p:txBody>
      </p:sp>
      <p:sp>
        <p:nvSpPr>
          <p:cNvPr id="4" name="Foliennummernplatzhalter 3">
            <a:extLst>
              <a:ext uri="{FF2B5EF4-FFF2-40B4-BE49-F238E27FC236}">
                <a16:creationId xmlns:a16="http://schemas.microsoft.com/office/drawing/2014/main" id="{D7EFACED-2A84-CD77-B7E8-06EFBCE07E8E}"/>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35</a:t>
            </a:fld>
            <a:endParaRPr lang="en-US" sz="810">
              <a:solidFill>
                <a:srgbClr val="889194"/>
              </a:solidFill>
              <a:latin typeface="Trebuchet MS"/>
            </a:endParaRPr>
          </a:p>
        </p:txBody>
      </p:sp>
      <p:sp>
        <p:nvSpPr>
          <p:cNvPr id="7" name="Inhaltsplatzhalter 6">
            <a:extLst>
              <a:ext uri="{FF2B5EF4-FFF2-40B4-BE49-F238E27FC236}">
                <a16:creationId xmlns:a16="http://schemas.microsoft.com/office/drawing/2014/main" id="{C67139D3-D63A-6849-703F-3D6178257B12}"/>
              </a:ext>
            </a:extLst>
          </p:cNvPr>
          <p:cNvSpPr>
            <a:spLocks noGrp="1"/>
          </p:cNvSpPr>
          <p:nvPr>
            <p:ph sz="quarter" idx="17"/>
          </p:nvPr>
        </p:nvSpPr>
        <p:spPr/>
        <p:txBody>
          <a:bodyPr/>
          <a:lstStyle/>
          <a:p>
            <a:r>
              <a:rPr lang="de-DE" err="1"/>
              <a:t>OpenAI</a:t>
            </a:r>
            <a:r>
              <a:rPr lang="de-DE"/>
              <a:t> 2023</a:t>
            </a:r>
          </a:p>
        </p:txBody>
      </p:sp>
      <p:sp>
        <p:nvSpPr>
          <p:cNvPr id="8" name="Textfeld 7">
            <a:extLst>
              <a:ext uri="{FF2B5EF4-FFF2-40B4-BE49-F238E27FC236}">
                <a16:creationId xmlns:a16="http://schemas.microsoft.com/office/drawing/2014/main" id="{EA87E696-2C31-ECD9-DF51-A622AE3C00A3}"/>
              </a:ext>
            </a:extLst>
          </p:cNvPr>
          <p:cNvSpPr txBox="1"/>
          <p:nvPr/>
        </p:nvSpPr>
        <p:spPr>
          <a:xfrm>
            <a:off x="1856899" y="1140143"/>
            <a:ext cx="0" cy="0"/>
          </a:xfrm>
          <a:prstGeom prst="rect">
            <a:avLst/>
          </a:prstGeom>
        </p:spPr>
        <p:txBody>
          <a:bodyPr vert="horz" wrap="none" lIns="0" tIns="0" rIns="0" bIns="0" rtlCol="0">
            <a:noAutofit/>
          </a:bodyPr>
          <a:lstStyle/>
          <a:p>
            <a:pPr marL="257176" indent="-257176" defTabSz="822960">
              <a:buFont typeface="Wingdings" panose="05000000000000000000" pitchFamily="2" charset="2"/>
              <a:buChar char="§"/>
              <a:defRPr/>
            </a:pPr>
            <a:endParaRPr lang="de-DE" sz="1260" err="1">
              <a:solidFill>
                <a:srgbClr val="4B4B4B"/>
              </a:solidFill>
              <a:latin typeface="Trebuchet MS"/>
            </a:endParaRPr>
          </a:p>
        </p:txBody>
      </p:sp>
      <p:grpSp>
        <p:nvGrpSpPr>
          <p:cNvPr id="20" name="Gruppieren 19">
            <a:extLst>
              <a:ext uri="{FF2B5EF4-FFF2-40B4-BE49-F238E27FC236}">
                <a16:creationId xmlns:a16="http://schemas.microsoft.com/office/drawing/2014/main" id="{26F587E1-EE19-3204-B798-B456A9DC440D}"/>
              </a:ext>
            </a:extLst>
          </p:cNvPr>
          <p:cNvGrpSpPr/>
          <p:nvPr/>
        </p:nvGrpSpPr>
        <p:grpSpPr>
          <a:xfrm>
            <a:off x="8501198" y="1584688"/>
            <a:ext cx="2732806" cy="4241755"/>
            <a:chOff x="8768442" y="1379764"/>
            <a:chExt cx="3036451" cy="4713061"/>
          </a:xfrm>
        </p:grpSpPr>
        <p:sp>
          <p:nvSpPr>
            <p:cNvPr id="13" name="Rechteck: abgerundete Ecken 12">
              <a:extLst>
                <a:ext uri="{FF2B5EF4-FFF2-40B4-BE49-F238E27FC236}">
                  <a16:creationId xmlns:a16="http://schemas.microsoft.com/office/drawing/2014/main" id="{28D30691-CC0F-760C-8422-9EE40F464D03}"/>
                </a:ext>
              </a:extLst>
            </p:cNvPr>
            <p:cNvSpPr/>
            <p:nvPr/>
          </p:nvSpPr>
          <p:spPr>
            <a:xfrm>
              <a:off x="8768442" y="1379764"/>
              <a:ext cx="3036451" cy="4713061"/>
            </a:xfrm>
            <a:prstGeom prst="roundRect">
              <a:avLst/>
            </a:prstGeom>
            <a:solidFill>
              <a:schemeClr val="accent4"/>
            </a:solidFill>
            <a:ln>
              <a:solidFill>
                <a:schemeClr val="tx2"/>
              </a:solid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en-US" sz="1300" dirty="0">
                  <a:solidFill>
                    <a:srgbClr val="004080"/>
                  </a:solidFill>
                  <a:latin typeface="Arial" panose="020B0604020202020204" pitchFamily="34" charset="0"/>
                  <a:cs typeface="Arial" panose="020B0604020202020204" pitchFamily="34" charset="0"/>
                </a:rPr>
                <a:t>ARTIFICAL INTELLIGENCE</a:t>
              </a:r>
            </a:p>
          </p:txBody>
        </p:sp>
        <p:sp>
          <p:nvSpPr>
            <p:cNvPr id="14" name="Rechteck: abgerundete Ecken 13">
              <a:extLst>
                <a:ext uri="{FF2B5EF4-FFF2-40B4-BE49-F238E27FC236}">
                  <a16:creationId xmlns:a16="http://schemas.microsoft.com/office/drawing/2014/main" id="{8958F73F-1C62-339A-AB68-EFB8E8CA8D49}"/>
                </a:ext>
              </a:extLst>
            </p:cNvPr>
            <p:cNvSpPr/>
            <p:nvPr/>
          </p:nvSpPr>
          <p:spPr>
            <a:xfrm>
              <a:off x="8782729" y="1918067"/>
              <a:ext cx="2418336" cy="4115339"/>
            </a:xfrm>
            <a:prstGeom prst="roundRect">
              <a:avLst/>
            </a:prstGeom>
            <a:solidFill>
              <a:schemeClr val="accent2">
                <a:lumMod val="40000"/>
                <a:lumOff val="60000"/>
              </a:schemeClr>
            </a:solidFill>
            <a:ln>
              <a:no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de-DE" sz="990">
                  <a:solidFill>
                    <a:srgbClr val="004080"/>
                  </a:solidFill>
                  <a:latin typeface="Arial" panose="020B0604020202020204" pitchFamily="34" charset="0"/>
                  <a:cs typeface="Arial" panose="020B0604020202020204" pitchFamily="34" charset="0"/>
                </a:rPr>
                <a:t>MACHINE LEARNING</a:t>
              </a:r>
            </a:p>
          </p:txBody>
        </p:sp>
        <p:sp>
          <p:nvSpPr>
            <p:cNvPr id="15" name="Rechteck: abgerundete Ecken 14">
              <a:extLst>
                <a:ext uri="{FF2B5EF4-FFF2-40B4-BE49-F238E27FC236}">
                  <a16:creationId xmlns:a16="http://schemas.microsoft.com/office/drawing/2014/main" id="{371FF1A6-3208-657C-C7F4-C855D8CED272}"/>
                </a:ext>
              </a:extLst>
            </p:cNvPr>
            <p:cNvSpPr/>
            <p:nvPr/>
          </p:nvSpPr>
          <p:spPr>
            <a:xfrm>
              <a:off x="8768442" y="2297794"/>
              <a:ext cx="2146332" cy="3672794"/>
            </a:xfrm>
            <a:prstGeom prst="round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de-DE" sz="990">
                  <a:solidFill>
                    <a:srgbClr val="FFFFFF"/>
                  </a:solidFill>
                  <a:latin typeface="Arial" panose="020B0604020202020204" pitchFamily="34" charset="0"/>
                  <a:cs typeface="Arial" panose="020B0604020202020204" pitchFamily="34" charset="0"/>
                </a:rPr>
                <a:t>GENERATIVE AI</a:t>
              </a:r>
            </a:p>
          </p:txBody>
        </p:sp>
        <p:sp>
          <p:nvSpPr>
            <p:cNvPr id="16" name="Rechteck: abgerundete Ecken 15">
              <a:extLst>
                <a:ext uri="{FF2B5EF4-FFF2-40B4-BE49-F238E27FC236}">
                  <a16:creationId xmlns:a16="http://schemas.microsoft.com/office/drawing/2014/main" id="{918FABC1-8B87-A561-BE7D-2A7C9C7DB068}"/>
                </a:ext>
              </a:extLst>
            </p:cNvPr>
            <p:cNvSpPr/>
            <p:nvPr/>
          </p:nvSpPr>
          <p:spPr>
            <a:xfrm>
              <a:off x="8768442" y="2637337"/>
              <a:ext cx="1866782" cy="3290886"/>
            </a:xfrm>
            <a:prstGeom prst="round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de-DE" sz="990">
                  <a:solidFill>
                    <a:srgbClr val="FFFFFF"/>
                  </a:solidFill>
                  <a:latin typeface="Arial" panose="020B0604020202020204" pitchFamily="34" charset="0"/>
                  <a:cs typeface="Arial" panose="020B0604020202020204" pitchFamily="34" charset="0"/>
                </a:rPr>
                <a:t>LARGE LANGUAGE MODELS</a:t>
              </a:r>
            </a:p>
            <a:p>
              <a:pPr defTabSz="822960">
                <a:defRPr/>
              </a:pPr>
              <a:endParaRPr lang="de-DE" sz="990">
                <a:solidFill>
                  <a:srgbClr val="FFFFFF"/>
                </a:solidFill>
                <a:latin typeface="Arial" panose="020B0604020202020204" pitchFamily="34" charset="0"/>
                <a:cs typeface="Arial" panose="020B0604020202020204" pitchFamily="34" charset="0"/>
              </a:endParaRPr>
            </a:p>
            <a:p>
              <a:pPr defTabSz="822960">
                <a:defRPr/>
              </a:pPr>
              <a:endParaRPr lang="de-DE" sz="990">
                <a:solidFill>
                  <a:srgbClr val="FFFFFF"/>
                </a:solidFill>
                <a:latin typeface="Arial" panose="020B0604020202020204" pitchFamily="34" charset="0"/>
                <a:cs typeface="Arial" panose="020B0604020202020204" pitchFamily="34" charset="0"/>
              </a:endParaRPr>
            </a:p>
          </p:txBody>
        </p:sp>
        <p:sp>
          <p:nvSpPr>
            <p:cNvPr id="17" name="Rechteck: abgerundete Ecken 16">
              <a:extLst>
                <a:ext uri="{FF2B5EF4-FFF2-40B4-BE49-F238E27FC236}">
                  <a16:creationId xmlns:a16="http://schemas.microsoft.com/office/drawing/2014/main" id="{E6BE4442-17E7-0A7B-849E-4FAA8C965FD8}"/>
                </a:ext>
              </a:extLst>
            </p:cNvPr>
            <p:cNvSpPr/>
            <p:nvPr/>
          </p:nvSpPr>
          <p:spPr>
            <a:xfrm>
              <a:off x="8782729" y="3822851"/>
              <a:ext cx="2728913" cy="1249061"/>
            </a:xfrm>
            <a:prstGeom prst="roundRect">
              <a:avLst/>
            </a:prstGeom>
            <a:solidFill>
              <a:srgbClr val="97CBFF"/>
            </a:solidFill>
            <a:ln>
              <a:noFill/>
            </a:ln>
          </p:spPr>
          <p:style>
            <a:lnRef idx="2">
              <a:schemeClr val="dk1"/>
            </a:lnRef>
            <a:fillRef idx="1">
              <a:schemeClr val="lt1"/>
            </a:fillRef>
            <a:effectRef idx="0">
              <a:schemeClr val="dk1"/>
            </a:effectRef>
            <a:fontRef idx="minor">
              <a:schemeClr val="dk1"/>
            </a:fontRef>
          </p:style>
          <p:txBody>
            <a:bodyPr tIns="16200" rtlCol="0" anchor="t"/>
            <a:lstStyle/>
            <a:p>
              <a:pPr defTabSz="822960">
                <a:defRPr/>
              </a:pPr>
              <a:r>
                <a:rPr lang="de-DE" sz="990">
                  <a:solidFill>
                    <a:srgbClr val="000000"/>
                  </a:solidFill>
                  <a:latin typeface="Arial" panose="020B0604020202020204" pitchFamily="34" charset="0"/>
                  <a:cs typeface="Arial" panose="020B0604020202020204" pitchFamily="34" charset="0"/>
                </a:rPr>
                <a:t>CONVERSATIONAL AGENTS</a:t>
              </a:r>
            </a:p>
          </p:txBody>
        </p:sp>
        <p:grpSp>
          <p:nvGrpSpPr>
            <p:cNvPr id="18" name="Gruppieren 17">
              <a:extLst>
                <a:ext uri="{FF2B5EF4-FFF2-40B4-BE49-F238E27FC236}">
                  <a16:creationId xmlns:a16="http://schemas.microsoft.com/office/drawing/2014/main" id="{4F84FDF9-37A0-BF25-E5F5-338A22283DEC}"/>
                </a:ext>
              </a:extLst>
            </p:cNvPr>
            <p:cNvGrpSpPr/>
            <p:nvPr/>
          </p:nvGrpSpPr>
          <p:grpSpPr>
            <a:xfrm>
              <a:off x="9058774" y="4346959"/>
              <a:ext cx="1723075" cy="1188388"/>
              <a:chOff x="9098179" y="4141482"/>
              <a:chExt cx="1723075" cy="1188388"/>
            </a:xfrm>
          </p:grpSpPr>
          <p:sp>
            <p:nvSpPr>
              <p:cNvPr id="10" name="Rechteck: abgerundete Ecken 9">
                <a:extLst>
                  <a:ext uri="{FF2B5EF4-FFF2-40B4-BE49-F238E27FC236}">
                    <a16:creationId xmlns:a16="http://schemas.microsoft.com/office/drawing/2014/main" id="{A17C0A57-B7BA-BA0A-6DF8-0534B5480A46}"/>
                  </a:ext>
                </a:extLst>
              </p:cNvPr>
              <p:cNvSpPr/>
              <p:nvPr/>
            </p:nvSpPr>
            <p:spPr>
              <a:xfrm>
                <a:off x="9186159" y="4141482"/>
                <a:ext cx="1635095" cy="476354"/>
              </a:xfrm>
              <a:prstGeom prst="round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822960">
                  <a:defRPr/>
                </a:pPr>
                <a:r>
                  <a:rPr lang="de-DE" sz="990">
                    <a:solidFill>
                      <a:srgbClr val="000000"/>
                    </a:solidFill>
                    <a:latin typeface="Arial" panose="020B0604020202020204" pitchFamily="34" charset="0"/>
                    <a:cs typeface="Arial" panose="020B0604020202020204" pitchFamily="34" charset="0"/>
                  </a:rPr>
                  <a:t>CHATGPT</a:t>
                </a:r>
              </a:p>
            </p:txBody>
          </p:sp>
          <p:grpSp>
            <p:nvGrpSpPr>
              <p:cNvPr id="9" name="Gruppieren 8">
                <a:extLst>
                  <a:ext uri="{FF2B5EF4-FFF2-40B4-BE49-F238E27FC236}">
                    <a16:creationId xmlns:a16="http://schemas.microsoft.com/office/drawing/2014/main" id="{2BC904B0-CC3B-4783-07B1-16A3BCA09884}"/>
                  </a:ext>
                </a:extLst>
              </p:cNvPr>
              <p:cNvGrpSpPr/>
              <p:nvPr/>
            </p:nvGrpSpPr>
            <p:grpSpPr>
              <a:xfrm>
                <a:off x="9098179" y="4617836"/>
                <a:ext cx="1173880" cy="712034"/>
                <a:chOff x="9098179" y="4617836"/>
                <a:chExt cx="1173880" cy="712034"/>
              </a:xfrm>
            </p:grpSpPr>
            <p:cxnSp>
              <p:nvCxnSpPr>
                <p:cNvPr id="12" name="Gerade Verbindung mit Pfeil 11">
                  <a:extLst>
                    <a:ext uri="{FF2B5EF4-FFF2-40B4-BE49-F238E27FC236}">
                      <a16:creationId xmlns:a16="http://schemas.microsoft.com/office/drawing/2014/main" id="{A0C5EEC1-6A18-EEAB-19B1-1315AEE0AFF3}"/>
                    </a:ext>
                  </a:extLst>
                </p:cNvPr>
                <p:cNvCxnSpPr>
                  <a:cxnSpLocks/>
                </p:cNvCxnSpPr>
                <p:nvPr/>
              </p:nvCxnSpPr>
              <p:spPr>
                <a:xfrm flipV="1">
                  <a:off x="9685119" y="4617836"/>
                  <a:ext cx="0" cy="583574"/>
                </a:xfrm>
                <a:prstGeom prst="straightConnector1">
                  <a:avLst/>
                </a:prstGeom>
                <a:ln w="57150">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067CFDF0-0E87-BC59-12F5-1542895F1334}"/>
                    </a:ext>
                  </a:extLst>
                </p:cNvPr>
                <p:cNvSpPr txBox="1"/>
                <p:nvPr/>
              </p:nvSpPr>
              <p:spPr>
                <a:xfrm>
                  <a:off x="9098179" y="5162454"/>
                  <a:ext cx="1173880" cy="167416"/>
                </a:xfrm>
                <a:prstGeom prst="roundRect">
                  <a:avLst/>
                </a:prstGeom>
                <a:solidFill>
                  <a:schemeClr val="bg1"/>
                </a:solidFill>
              </p:spPr>
              <p:txBody>
                <a:bodyPr vert="horz" wrap="square" lIns="0" tIns="0" rIns="0" bIns="0" rtlCol="0" anchor="ctr">
                  <a:noAutofit/>
                </a:bodyPr>
                <a:lstStyle/>
                <a:p>
                  <a:pPr algn="ctr" defTabSz="822960">
                    <a:defRPr/>
                  </a:pPr>
                  <a:r>
                    <a:rPr lang="de-DE" sz="990">
                      <a:solidFill>
                        <a:srgbClr val="000000"/>
                      </a:solidFill>
                      <a:latin typeface="Arial" panose="020B0604020202020204" pitchFamily="34" charset="0"/>
                      <a:cs typeface="Arial" panose="020B0604020202020204" pitchFamily="34" charset="0"/>
                    </a:rPr>
                    <a:t>GPT-4</a:t>
                  </a:r>
                </a:p>
              </p:txBody>
            </p:sp>
          </p:grpSp>
        </p:grpSp>
      </p:grpSp>
      <p:pic>
        <p:nvPicPr>
          <p:cNvPr id="25" name="Grafik 24">
            <a:extLst>
              <a:ext uri="{FF2B5EF4-FFF2-40B4-BE49-F238E27FC236}">
                <a16:creationId xmlns:a16="http://schemas.microsoft.com/office/drawing/2014/main" id="{F7918021-E344-7264-DDE5-F2F76DA960F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506709" y="1584690"/>
            <a:ext cx="5588934" cy="447126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extLst>
      <p:ext uri="{BB962C8B-B14F-4D97-AF65-F5344CB8AC3E}">
        <p14:creationId xmlns:p14="http://schemas.microsoft.com/office/powerpoint/2010/main" val="8052877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505C1-AD1B-7419-B43E-DF4EEEC6201B}"/>
              </a:ext>
            </a:extLst>
          </p:cNvPr>
          <p:cNvSpPr>
            <a:spLocks noGrp="1"/>
          </p:cNvSpPr>
          <p:nvPr>
            <p:ph type="title"/>
          </p:nvPr>
        </p:nvSpPr>
        <p:spPr/>
        <p:txBody>
          <a:bodyPr/>
          <a:lstStyle/>
          <a:p>
            <a:r>
              <a:rPr lang="de-DE"/>
              <a:t>Wie sich </a:t>
            </a:r>
            <a:r>
              <a:rPr lang="de-DE" err="1"/>
              <a:t>ChatGPT</a:t>
            </a:r>
            <a:r>
              <a:rPr lang="de-DE"/>
              <a:t> merkt, was „vorher“ gesagt wurde</a:t>
            </a:r>
          </a:p>
        </p:txBody>
      </p:sp>
      <p:sp>
        <p:nvSpPr>
          <p:cNvPr id="4" name="Foliennummernplatzhalter 3">
            <a:extLst>
              <a:ext uri="{FF2B5EF4-FFF2-40B4-BE49-F238E27FC236}">
                <a16:creationId xmlns:a16="http://schemas.microsoft.com/office/drawing/2014/main" id="{D7EFACED-2A84-CD77-B7E8-06EFBCE07E8E}"/>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36</a:t>
            </a:fld>
            <a:endParaRPr lang="en-US" sz="810">
              <a:solidFill>
                <a:srgbClr val="889194"/>
              </a:solidFill>
              <a:latin typeface="Trebuchet MS"/>
            </a:endParaRPr>
          </a:p>
        </p:txBody>
      </p:sp>
      <p:sp>
        <p:nvSpPr>
          <p:cNvPr id="7" name="Inhaltsplatzhalter 6">
            <a:extLst>
              <a:ext uri="{FF2B5EF4-FFF2-40B4-BE49-F238E27FC236}">
                <a16:creationId xmlns:a16="http://schemas.microsoft.com/office/drawing/2014/main" id="{C67139D3-D63A-6849-703F-3D6178257B12}"/>
              </a:ext>
            </a:extLst>
          </p:cNvPr>
          <p:cNvSpPr>
            <a:spLocks noGrp="1"/>
          </p:cNvSpPr>
          <p:nvPr>
            <p:ph sz="quarter" idx="17"/>
          </p:nvPr>
        </p:nvSpPr>
        <p:spPr/>
        <p:txBody>
          <a:bodyPr/>
          <a:lstStyle/>
          <a:p>
            <a:r>
              <a:rPr lang="en-US"/>
              <a:t>https://platform.openai.com/docs/guides/chat/introduction</a:t>
            </a:r>
          </a:p>
        </p:txBody>
      </p:sp>
      <p:sp>
        <p:nvSpPr>
          <p:cNvPr id="8" name="Textfeld 7">
            <a:extLst>
              <a:ext uri="{FF2B5EF4-FFF2-40B4-BE49-F238E27FC236}">
                <a16:creationId xmlns:a16="http://schemas.microsoft.com/office/drawing/2014/main" id="{EA87E696-2C31-ECD9-DF51-A622AE3C00A3}"/>
              </a:ext>
            </a:extLst>
          </p:cNvPr>
          <p:cNvSpPr txBox="1"/>
          <p:nvPr/>
        </p:nvSpPr>
        <p:spPr>
          <a:xfrm>
            <a:off x="1856899" y="1140143"/>
            <a:ext cx="0" cy="0"/>
          </a:xfrm>
          <a:prstGeom prst="rect">
            <a:avLst/>
          </a:prstGeom>
        </p:spPr>
        <p:txBody>
          <a:bodyPr vert="horz" wrap="none" lIns="0" tIns="0" rIns="0" bIns="0" rtlCol="0">
            <a:noAutofit/>
          </a:bodyPr>
          <a:lstStyle/>
          <a:p>
            <a:pPr marL="257176" indent="-257176" defTabSz="822960">
              <a:buFont typeface="Wingdings" panose="05000000000000000000" pitchFamily="2" charset="2"/>
              <a:buChar char="§"/>
              <a:defRPr/>
            </a:pPr>
            <a:endParaRPr lang="de-DE" sz="1260" err="1">
              <a:solidFill>
                <a:srgbClr val="4B4B4B"/>
              </a:solidFill>
              <a:latin typeface="Trebuchet MS"/>
            </a:endParaRPr>
          </a:p>
        </p:txBody>
      </p:sp>
      <p:grpSp>
        <p:nvGrpSpPr>
          <p:cNvPr id="87" name="Gruppieren 86">
            <a:extLst>
              <a:ext uri="{FF2B5EF4-FFF2-40B4-BE49-F238E27FC236}">
                <a16:creationId xmlns:a16="http://schemas.microsoft.com/office/drawing/2014/main" id="{C57623D6-9408-DA80-8193-C70F33023A03}"/>
              </a:ext>
            </a:extLst>
          </p:cNvPr>
          <p:cNvGrpSpPr/>
          <p:nvPr/>
        </p:nvGrpSpPr>
        <p:grpSpPr>
          <a:xfrm>
            <a:off x="6451729" y="2310898"/>
            <a:ext cx="4897319" cy="2848970"/>
            <a:chOff x="6344416" y="1999410"/>
            <a:chExt cx="5441465" cy="3165522"/>
          </a:xfrm>
        </p:grpSpPr>
        <p:grpSp>
          <p:nvGrpSpPr>
            <p:cNvPr id="26" name="Group 95">
              <a:extLst>
                <a:ext uri="{FF2B5EF4-FFF2-40B4-BE49-F238E27FC236}">
                  <a16:creationId xmlns:a16="http://schemas.microsoft.com/office/drawing/2014/main" id="{F15DC6FA-656D-3F03-B229-515E0CF7857B}"/>
                </a:ext>
              </a:extLst>
            </p:cNvPr>
            <p:cNvGrpSpPr>
              <a:grpSpLocks noChangeAspect="1"/>
            </p:cNvGrpSpPr>
            <p:nvPr/>
          </p:nvGrpSpPr>
          <p:grpSpPr>
            <a:xfrm>
              <a:off x="6344416" y="1999410"/>
              <a:ext cx="5441465" cy="3165522"/>
              <a:chOff x="1055342" y="453552"/>
              <a:chExt cx="4497078" cy="2616134"/>
            </a:xfrm>
            <a:effectLst/>
          </p:grpSpPr>
          <p:grpSp>
            <p:nvGrpSpPr>
              <p:cNvPr id="27" name="Group 96">
                <a:extLst>
                  <a:ext uri="{FF2B5EF4-FFF2-40B4-BE49-F238E27FC236}">
                    <a16:creationId xmlns:a16="http://schemas.microsoft.com/office/drawing/2014/main" id="{4D82C95B-4D6A-B8DB-F61E-FCD65321F0E2}"/>
                  </a:ext>
                </a:extLst>
              </p:cNvPr>
              <p:cNvGrpSpPr/>
              <p:nvPr/>
            </p:nvGrpSpPr>
            <p:grpSpPr>
              <a:xfrm>
                <a:off x="1408962" y="453552"/>
                <a:ext cx="3789838" cy="2455380"/>
                <a:chOff x="4389513" y="454854"/>
                <a:chExt cx="3789838" cy="2455380"/>
              </a:xfrm>
            </p:grpSpPr>
            <p:sp>
              <p:nvSpPr>
                <p:cNvPr id="59" name="Rectangle: Rounded Corners 101">
                  <a:extLst>
                    <a:ext uri="{FF2B5EF4-FFF2-40B4-BE49-F238E27FC236}">
                      <a16:creationId xmlns:a16="http://schemas.microsoft.com/office/drawing/2014/main" id="{288820ED-24BB-586D-6E46-A5AEA0148CA4}"/>
                    </a:ext>
                  </a:extLst>
                </p:cNvPr>
                <p:cNvSpPr/>
                <p:nvPr/>
              </p:nvSpPr>
              <p:spPr>
                <a:xfrm>
                  <a:off x="4389513" y="454854"/>
                  <a:ext cx="3789838" cy="2455380"/>
                </a:xfrm>
                <a:prstGeom prst="roundRect">
                  <a:avLst>
                    <a:gd name="adj" fmla="val 6493"/>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latin typeface="Trebuchet MS"/>
                  </a:endParaRPr>
                </a:p>
              </p:txBody>
            </p:sp>
            <p:sp>
              <p:nvSpPr>
                <p:cNvPr id="60" name="Rectangle 102">
                  <a:extLst>
                    <a:ext uri="{FF2B5EF4-FFF2-40B4-BE49-F238E27FC236}">
                      <a16:creationId xmlns:a16="http://schemas.microsoft.com/office/drawing/2014/main" id="{5830C3A7-E85D-45A1-CC89-6442955F977D}"/>
                    </a:ext>
                  </a:extLst>
                </p:cNvPr>
                <p:cNvSpPr/>
                <p:nvPr/>
              </p:nvSpPr>
              <p:spPr>
                <a:xfrm>
                  <a:off x="4515984" y="639042"/>
                  <a:ext cx="3536895" cy="208700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latin typeface="Trebuchet MS"/>
                  </a:endParaRPr>
                </a:p>
              </p:txBody>
            </p:sp>
          </p:grpSp>
          <p:sp>
            <p:nvSpPr>
              <p:cNvPr id="28" name="Rectangle 97">
                <a:extLst>
                  <a:ext uri="{FF2B5EF4-FFF2-40B4-BE49-F238E27FC236}">
                    <a16:creationId xmlns:a16="http://schemas.microsoft.com/office/drawing/2014/main" id="{A5F5F6CF-E258-F6B1-4822-FCB0178E4B5B}"/>
                  </a:ext>
                </a:extLst>
              </p:cNvPr>
              <p:cNvSpPr/>
              <p:nvPr/>
            </p:nvSpPr>
            <p:spPr>
              <a:xfrm>
                <a:off x="1055342" y="2904652"/>
                <a:ext cx="4497078" cy="86107"/>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latin typeface="Trebuchet MS"/>
                </a:endParaRPr>
              </a:p>
            </p:txBody>
          </p:sp>
          <p:sp>
            <p:nvSpPr>
              <p:cNvPr id="29" name="Oval 98">
                <a:extLst>
                  <a:ext uri="{FF2B5EF4-FFF2-40B4-BE49-F238E27FC236}">
                    <a16:creationId xmlns:a16="http://schemas.microsoft.com/office/drawing/2014/main" id="{90D7CC04-475F-E064-CACE-068E5D6F47E4}"/>
                  </a:ext>
                </a:extLst>
              </p:cNvPr>
              <p:cNvSpPr>
                <a:spLocks noChangeAspect="1"/>
              </p:cNvSpPr>
              <p:nvPr/>
            </p:nvSpPr>
            <p:spPr>
              <a:xfrm>
                <a:off x="3275059" y="505184"/>
                <a:ext cx="57643" cy="5764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latin typeface="Trebuchet MS"/>
                </a:endParaRPr>
              </a:p>
            </p:txBody>
          </p:sp>
          <p:sp>
            <p:nvSpPr>
              <p:cNvPr id="32" name="Freeform: Shape 99">
                <a:extLst>
                  <a:ext uri="{FF2B5EF4-FFF2-40B4-BE49-F238E27FC236}">
                    <a16:creationId xmlns:a16="http://schemas.microsoft.com/office/drawing/2014/main" id="{DBC5BABA-EAB1-89E2-323B-E71A9349E992}"/>
                  </a:ext>
                </a:extLst>
              </p:cNvPr>
              <p:cNvSpPr/>
              <p:nvPr/>
            </p:nvSpPr>
            <p:spPr>
              <a:xfrm>
                <a:off x="1055628" y="2990759"/>
                <a:ext cx="4496506" cy="78927"/>
              </a:xfrm>
              <a:custGeom>
                <a:avLst/>
                <a:gdLst>
                  <a:gd name="connsiteX0" fmla="*/ 0 w 4496506"/>
                  <a:gd name="connsiteY0" fmla="*/ 0 h 220830"/>
                  <a:gd name="connsiteX1" fmla="*/ 4496506 w 4496506"/>
                  <a:gd name="connsiteY1" fmla="*/ 0 h 220830"/>
                  <a:gd name="connsiteX2" fmla="*/ 4451111 w 4496506"/>
                  <a:gd name="connsiteY2" fmla="*/ 88068 h 220830"/>
                  <a:gd name="connsiteX3" fmla="*/ 4320092 w 4496506"/>
                  <a:gd name="connsiteY3" fmla="*/ 170614 h 220830"/>
                  <a:gd name="connsiteX4" fmla="*/ 4180724 w 4496506"/>
                  <a:gd name="connsiteY4" fmla="*/ 220830 h 220830"/>
                  <a:gd name="connsiteX5" fmla="*/ 315782 w 4496506"/>
                  <a:gd name="connsiteY5" fmla="*/ 220830 h 220830"/>
                  <a:gd name="connsiteX6" fmla="*/ 176415 w 4496506"/>
                  <a:gd name="connsiteY6" fmla="*/ 170614 h 220830"/>
                  <a:gd name="connsiteX7" fmla="*/ 45396 w 4496506"/>
                  <a:gd name="connsiteY7" fmla="*/ 88068 h 22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506" h="220830">
                    <a:moveTo>
                      <a:pt x="0" y="0"/>
                    </a:moveTo>
                    <a:lnTo>
                      <a:pt x="4496506" y="0"/>
                    </a:lnTo>
                    <a:lnTo>
                      <a:pt x="4451111" y="88068"/>
                    </a:lnTo>
                    <a:cubicBezTo>
                      <a:pt x="4421158" y="116695"/>
                      <a:pt x="4376983" y="144309"/>
                      <a:pt x="4320092" y="170614"/>
                    </a:cubicBezTo>
                    <a:lnTo>
                      <a:pt x="4180724" y="220830"/>
                    </a:lnTo>
                    <a:lnTo>
                      <a:pt x="315782" y="220830"/>
                    </a:lnTo>
                    <a:lnTo>
                      <a:pt x="176415" y="170614"/>
                    </a:lnTo>
                    <a:cubicBezTo>
                      <a:pt x="119523" y="144309"/>
                      <a:pt x="75348" y="116695"/>
                      <a:pt x="45396" y="88068"/>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latin typeface="Trebuchet MS"/>
                </a:endParaRPr>
              </a:p>
            </p:txBody>
          </p:sp>
          <p:sp>
            <p:nvSpPr>
              <p:cNvPr id="36" name="Freeform: Shape 100">
                <a:extLst>
                  <a:ext uri="{FF2B5EF4-FFF2-40B4-BE49-F238E27FC236}">
                    <a16:creationId xmlns:a16="http://schemas.microsoft.com/office/drawing/2014/main" id="{BAECDAC2-862B-7E10-C72E-A77150B630DF}"/>
                  </a:ext>
                </a:extLst>
              </p:cNvPr>
              <p:cNvSpPr/>
              <p:nvPr/>
            </p:nvSpPr>
            <p:spPr>
              <a:xfrm>
                <a:off x="2859077" y="2910234"/>
                <a:ext cx="889609" cy="64885"/>
              </a:xfrm>
              <a:custGeom>
                <a:avLst/>
                <a:gdLst>
                  <a:gd name="connsiteX0" fmla="*/ 0 w 4496506"/>
                  <a:gd name="connsiteY0" fmla="*/ 0 h 220830"/>
                  <a:gd name="connsiteX1" fmla="*/ 4496506 w 4496506"/>
                  <a:gd name="connsiteY1" fmla="*/ 0 h 220830"/>
                  <a:gd name="connsiteX2" fmla="*/ 4451111 w 4496506"/>
                  <a:gd name="connsiteY2" fmla="*/ 88068 h 220830"/>
                  <a:gd name="connsiteX3" fmla="*/ 4320092 w 4496506"/>
                  <a:gd name="connsiteY3" fmla="*/ 170614 h 220830"/>
                  <a:gd name="connsiteX4" fmla="*/ 4180724 w 4496506"/>
                  <a:gd name="connsiteY4" fmla="*/ 220830 h 220830"/>
                  <a:gd name="connsiteX5" fmla="*/ 315782 w 4496506"/>
                  <a:gd name="connsiteY5" fmla="*/ 220830 h 220830"/>
                  <a:gd name="connsiteX6" fmla="*/ 176415 w 4496506"/>
                  <a:gd name="connsiteY6" fmla="*/ 170614 h 220830"/>
                  <a:gd name="connsiteX7" fmla="*/ 45396 w 4496506"/>
                  <a:gd name="connsiteY7" fmla="*/ 88068 h 22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506" h="220830">
                    <a:moveTo>
                      <a:pt x="0" y="0"/>
                    </a:moveTo>
                    <a:lnTo>
                      <a:pt x="4496506" y="0"/>
                    </a:lnTo>
                    <a:lnTo>
                      <a:pt x="4451111" y="88068"/>
                    </a:lnTo>
                    <a:cubicBezTo>
                      <a:pt x="4421158" y="116695"/>
                      <a:pt x="4376983" y="144309"/>
                      <a:pt x="4320092" y="170614"/>
                    </a:cubicBezTo>
                    <a:lnTo>
                      <a:pt x="4180724" y="220830"/>
                    </a:lnTo>
                    <a:lnTo>
                      <a:pt x="315782" y="220830"/>
                    </a:lnTo>
                    <a:lnTo>
                      <a:pt x="176415" y="170614"/>
                    </a:lnTo>
                    <a:cubicBezTo>
                      <a:pt x="119523" y="144309"/>
                      <a:pt x="75348" y="116695"/>
                      <a:pt x="45396" y="88068"/>
                    </a:cubicBez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latin typeface="Trebuchet MS"/>
                </a:endParaRPr>
              </a:p>
            </p:txBody>
          </p:sp>
        </p:grpSp>
        <p:pic>
          <p:nvPicPr>
            <p:cNvPr id="63" name="Grafik 62">
              <a:extLst>
                <a:ext uri="{FF2B5EF4-FFF2-40B4-BE49-F238E27FC236}">
                  <a16:creationId xmlns:a16="http://schemas.microsoft.com/office/drawing/2014/main" id="{10DE4239-BECF-1571-694E-1286FB26355A}"/>
                </a:ext>
              </a:extLst>
            </p:cNvPr>
            <p:cNvPicPr>
              <a:picLocks noChangeAspect="1"/>
            </p:cNvPicPr>
            <p:nvPr/>
          </p:nvPicPr>
          <p:blipFill rotWithShape="1">
            <a:blip r:embed="rId3"/>
            <a:srcRect l="359" r="575"/>
            <a:stretch/>
          </p:blipFill>
          <p:spPr>
            <a:xfrm>
              <a:off x="6925326" y="2881602"/>
              <a:ext cx="4279644" cy="1853052"/>
            </a:xfrm>
            <a:prstGeom prst="rect">
              <a:avLst/>
            </a:prstGeom>
          </p:spPr>
        </p:pic>
        <p:sp>
          <p:nvSpPr>
            <p:cNvPr id="62" name="Textfeld 61">
              <a:extLst>
                <a:ext uri="{FF2B5EF4-FFF2-40B4-BE49-F238E27FC236}">
                  <a16:creationId xmlns:a16="http://schemas.microsoft.com/office/drawing/2014/main" id="{B5BF3FCE-0E16-DF76-D9BA-154B4FB77E7B}"/>
                </a:ext>
              </a:extLst>
            </p:cNvPr>
            <p:cNvSpPr txBox="1"/>
            <p:nvPr/>
          </p:nvSpPr>
          <p:spPr>
            <a:xfrm>
              <a:off x="8027838" y="2379959"/>
              <a:ext cx="2004872" cy="356773"/>
            </a:xfrm>
            <a:prstGeom prst="rect">
              <a:avLst/>
            </a:prstGeom>
          </p:spPr>
          <p:txBody>
            <a:bodyPr vert="horz" wrap="square" lIns="0" tIns="0" rIns="0" bIns="0" rtlCol="0">
              <a:noAutofit/>
            </a:bodyPr>
            <a:lstStyle/>
            <a:p>
              <a:pPr defTabSz="822960">
                <a:defRPr/>
              </a:pPr>
              <a:r>
                <a:rPr lang="de-DE" err="1">
                  <a:solidFill>
                    <a:srgbClr val="353740"/>
                  </a:solidFill>
                  <a:latin typeface="ColfaxAI"/>
                </a:rPr>
                <a:t>OpenAI</a:t>
              </a:r>
              <a:r>
                <a:rPr lang="de-DE">
                  <a:solidFill>
                    <a:srgbClr val="353740"/>
                  </a:solidFill>
                  <a:latin typeface="ColfaxAI"/>
                </a:rPr>
                <a:t> Chat API</a:t>
              </a:r>
              <a:endParaRPr lang="en-US" err="1">
                <a:solidFill>
                  <a:srgbClr val="4B4B4B"/>
                </a:solidFill>
                <a:latin typeface="Trebuchet MS"/>
              </a:endParaRPr>
            </a:p>
          </p:txBody>
        </p:sp>
      </p:grpSp>
      <p:grpSp>
        <p:nvGrpSpPr>
          <p:cNvPr id="88" name="Gruppieren 87">
            <a:extLst>
              <a:ext uri="{FF2B5EF4-FFF2-40B4-BE49-F238E27FC236}">
                <a16:creationId xmlns:a16="http://schemas.microsoft.com/office/drawing/2014/main" id="{C4713B0A-B08F-F6B6-40CC-8989C51E5E52}"/>
              </a:ext>
            </a:extLst>
          </p:cNvPr>
          <p:cNvGrpSpPr/>
          <p:nvPr/>
        </p:nvGrpSpPr>
        <p:grpSpPr>
          <a:xfrm>
            <a:off x="842956" y="2178790"/>
            <a:ext cx="5141315" cy="2936767"/>
            <a:chOff x="259283" y="1719838"/>
            <a:chExt cx="5712572" cy="3263074"/>
          </a:xfrm>
        </p:grpSpPr>
        <p:sp>
          <p:nvSpPr>
            <p:cNvPr id="30" name="Rechteck: abgerundete Ecken 29">
              <a:extLst>
                <a:ext uri="{FF2B5EF4-FFF2-40B4-BE49-F238E27FC236}">
                  <a16:creationId xmlns:a16="http://schemas.microsoft.com/office/drawing/2014/main" id="{AC5A4219-F5A3-2094-DC66-2D1999ABBEE7}"/>
                </a:ext>
              </a:extLst>
            </p:cNvPr>
            <p:cNvSpPr/>
            <p:nvPr/>
          </p:nvSpPr>
          <p:spPr>
            <a:xfrm>
              <a:off x="447105" y="3055358"/>
              <a:ext cx="1838312" cy="59619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en-US" sz="990" err="1">
                  <a:solidFill>
                    <a:srgbClr val="FFFFFF"/>
                  </a:solidFill>
                  <a:latin typeface="Trebuchet MS"/>
                </a:rPr>
                <a:t>ChatGPT</a:t>
              </a:r>
              <a:endParaRPr lang="en-US" sz="990">
                <a:solidFill>
                  <a:srgbClr val="FFFFFF"/>
                </a:solidFill>
                <a:latin typeface="Trebuchet MS"/>
              </a:endParaRPr>
            </a:p>
          </p:txBody>
        </p:sp>
        <p:sp>
          <p:nvSpPr>
            <p:cNvPr id="31" name="Rechteck: abgerundete Ecken 30">
              <a:extLst>
                <a:ext uri="{FF2B5EF4-FFF2-40B4-BE49-F238E27FC236}">
                  <a16:creationId xmlns:a16="http://schemas.microsoft.com/office/drawing/2014/main" id="{6D7FE547-B466-D77C-D1AA-F6390F31FD6A}"/>
                </a:ext>
              </a:extLst>
            </p:cNvPr>
            <p:cNvSpPr/>
            <p:nvPr/>
          </p:nvSpPr>
          <p:spPr>
            <a:xfrm>
              <a:off x="447105" y="4379888"/>
              <a:ext cx="1838312" cy="59619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en-US" sz="990">
                  <a:solidFill>
                    <a:srgbClr val="FFFFFF"/>
                  </a:solidFill>
                  <a:latin typeface="Trebuchet MS"/>
                </a:rPr>
                <a:t>GPT-4 / GPT3.5</a:t>
              </a:r>
            </a:p>
          </p:txBody>
        </p:sp>
        <p:sp>
          <p:nvSpPr>
            <p:cNvPr id="34" name="Rechteck: abgerundete Ecken 33">
              <a:extLst>
                <a:ext uri="{FF2B5EF4-FFF2-40B4-BE49-F238E27FC236}">
                  <a16:creationId xmlns:a16="http://schemas.microsoft.com/office/drawing/2014/main" id="{6066FE08-773F-064F-3C58-25C61856235A}"/>
                </a:ext>
              </a:extLst>
            </p:cNvPr>
            <p:cNvSpPr/>
            <p:nvPr/>
          </p:nvSpPr>
          <p:spPr>
            <a:xfrm>
              <a:off x="447105" y="1719838"/>
              <a:ext cx="1838312" cy="59619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en-US" sz="990" err="1">
                  <a:solidFill>
                    <a:srgbClr val="FFFFFF"/>
                  </a:solidFill>
                  <a:latin typeface="Trebuchet MS"/>
                </a:rPr>
                <a:t>Nutzer</a:t>
              </a:r>
              <a:endParaRPr lang="en-US" sz="990">
                <a:solidFill>
                  <a:srgbClr val="FFFFFF"/>
                </a:solidFill>
                <a:latin typeface="Trebuchet MS"/>
              </a:endParaRPr>
            </a:p>
          </p:txBody>
        </p:sp>
        <p:sp>
          <p:nvSpPr>
            <p:cNvPr id="40" name="Rechteck: abgerundete Ecken 39">
              <a:extLst>
                <a:ext uri="{FF2B5EF4-FFF2-40B4-BE49-F238E27FC236}">
                  <a16:creationId xmlns:a16="http://schemas.microsoft.com/office/drawing/2014/main" id="{E718D753-91D5-B3D9-1F04-A0761087D555}"/>
                </a:ext>
              </a:extLst>
            </p:cNvPr>
            <p:cNvSpPr/>
            <p:nvPr/>
          </p:nvSpPr>
          <p:spPr>
            <a:xfrm>
              <a:off x="259283" y="2528792"/>
              <a:ext cx="637126" cy="313807"/>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en-US" sz="720">
                  <a:solidFill>
                    <a:srgbClr val="FFFFFF"/>
                  </a:solidFill>
                  <a:latin typeface="Trebuchet MS"/>
                </a:rPr>
                <a:t>Prompt 1</a:t>
              </a:r>
            </a:p>
          </p:txBody>
        </p:sp>
        <p:sp>
          <p:nvSpPr>
            <p:cNvPr id="44" name="Gleichschenkliges Dreieck 43">
              <a:extLst>
                <a:ext uri="{FF2B5EF4-FFF2-40B4-BE49-F238E27FC236}">
                  <a16:creationId xmlns:a16="http://schemas.microsoft.com/office/drawing/2014/main" id="{76322AB9-510B-7886-AFBE-68AAF9D060D1}"/>
                </a:ext>
              </a:extLst>
            </p:cNvPr>
            <p:cNvSpPr/>
            <p:nvPr/>
          </p:nvSpPr>
          <p:spPr>
            <a:xfrm rot="5400000">
              <a:off x="1974272" y="2909962"/>
              <a:ext cx="2499132" cy="95309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en-US" sz="990">
                  <a:solidFill>
                    <a:srgbClr val="FFFFFF"/>
                  </a:solidFill>
                  <a:latin typeface="Trebuchet MS"/>
                </a:rPr>
                <a:t>Aufbau </a:t>
              </a:r>
              <a:r>
                <a:rPr lang="en-US" sz="990" err="1">
                  <a:solidFill>
                    <a:srgbClr val="FFFFFF"/>
                  </a:solidFill>
                  <a:latin typeface="Trebuchet MS"/>
                </a:rPr>
                <a:t>eines</a:t>
              </a:r>
              <a:r>
                <a:rPr lang="en-US" sz="990">
                  <a:solidFill>
                    <a:srgbClr val="FFFFFF"/>
                  </a:solidFill>
                  <a:latin typeface="Trebuchet MS"/>
                </a:rPr>
                <a:t> Dialogs…</a:t>
              </a:r>
            </a:p>
          </p:txBody>
        </p:sp>
        <p:sp>
          <p:nvSpPr>
            <p:cNvPr id="45" name="Rechteck: abgerundete Ecken 44">
              <a:extLst>
                <a:ext uri="{FF2B5EF4-FFF2-40B4-BE49-F238E27FC236}">
                  <a16:creationId xmlns:a16="http://schemas.microsoft.com/office/drawing/2014/main" id="{A6697864-0600-209E-E0C2-D62D780FBEE4}"/>
                </a:ext>
              </a:extLst>
            </p:cNvPr>
            <p:cNvSpPr/>
            <p:nvPr/>
          </p:nvSpPr>
          <p:spPr>
            <a:xfrm>
              <a:off x="3949744" y="3055358"/>
              <a:ext cx="1838312" cy="59619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en-US" sz="990" err="1">
                  <a:solidFill>
                    <a:srgbClr val="FFFFFF"/>
                  </a:solidFill>
                  <a:latin typeface="Trebuchet MS"/>
                </a:rPr>
                <a:t>ChatGPT</a:t>
              </a:r>
              <a:endParaRPr lang="en-US" sz="990">
                <a:solidFill>
                  <a:srgbClr val="FFFFFF"/>
                </a:solidFill>
                <a:latin typeface="Trebuchet MS"/>
              </a:endParaRPr>
            </a:p>
          </p:txBody>
        </p:sp>
        <p:sp>
          <p:nvSpPr>
            <p:cNvPr id="46" name="Rechteck: abgerundete Ecken 45">
              <a:extLst>
                <a:ext uri="{FF2B5EF4-FFF2-40B4-BE49-F238E27FC236}">
                  <a16:creationId xmlns:a16="http://schemas.microsoft.com/office/drawing/2014/main" id="{D2A3EC5A-68FC-FE3A-572E-550B7310E2B5}"/>
                </a:ext>
              </a:extLst>
            </p:cNvPr>
            <p:cNvSpPr/>
            <p:nvPr/>
          </p:nvSpPr>
          <p:spPr>
            <a:xfrm>
              <a:off x="3949744" y="4386717"/>
              <a:ext cx="1838312" cy="59619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en-US" sz="990">
                  <a:solidFill>
                    <a:srgbClr val="FFFFFF"/>
                  </a:solidFill>
                  <a:latin typeface="Trebuchet MS"/>
                </a:rPr>
                <a:t>GPT-4 / GPT3.5</a:t>
              </a:r>
            </a:p>
          </p:txBody>
        </p:sp>
        <p:sp>
          <p:nvSpPr>
            <p:cNvPr id="48" name="Rechteck: abgerundete Ecken 47">
              <a:extLst>
                <a:ext uri="{FF2B5EF4-FFF2-40B4-BE49-F238E27FC236}">
                  <a16:creationId xmlns:a16="http://schemas.microsoft.com/office/drawing/2014/main" id="{0E1A4910-4259-7DA4-C2ED-1F17D5BD4477}"/>
                </a:ext>
              </a:extLst>
            </p:cNvPr>
            <p:cNvSpPr/>
            <p:nvPr/>
          </p:nvSpPr>
          <p:spPr>
            <a:xfrm>
              <a:off x="3949744" y="1719838"/>
              <a:ext cx="1838312" cy="59619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en-US" sz="990" err="1">
                  <a:solidFill>
                    <a:srgbClr val="FFFFFF"/>
                  </a:solidFill>
                  <a:latin typeface="Trebuchet MS"/>
                </a:rPr>
                <a:t>Nutzer</a:t>
              </a:r>
              <a:endParaRPr lang="en-US" sz="990">
                <a:solidFill>
                  <a:srgbClr val="FFFFFF"/>
                </a:solidFill>
                <a:latin typeface="Trebuchet MS"/>
              </a:endParaRPr>
            </a:p>
          </p:txBody>
        </p:sp>
        <p:cxnSp>
          <p:nvCxnSpPr>
            <p:cNvPr id="66" name="Gerade Verbindung mit Pfeil 65">
              <a:extLst>
                <a:ext uri="{FF2B5EF4-FFF2-40B4-BE49-F238E27FC236}">
                  <a16:creationId xmlns:a16="http://schemas.microsoft.com/office/drawing/2014/main" id="{72433E31-9338-7AE6-2BA8-674EAA76EBFA}"/>
                </a:ext>
              </a:extLst>
            </p:cNvPr>
            <p:cNvCxnSpPr>
              <a:cxnSpLocks/>
            </p:cNvCxnSpPr>
            <p:nvPr/>
          </p:nvCxnSpPr>
          <p:spPr>
            <a:xfrm>
              <a:off x="939503" y="2317154"/>
              <a:ext cx="0" cy="7560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8" name="Gerade Verbindung mit Pfeil 67">
              <a:extLst>
                <a:ext uri="{FF2B5EF4-FFF2-40B4-BE49-F238E27FC236}">
                  <a16:creationId xmlns:a16="http://schemas.microsoft.com/office/drawing/2014/main" id="{AD9828B3-952A-29AB-73DD-8155571556E3}"/>
                </a:ext>
              </a:extLst>
            </p:cNvPr>
            <p:cNvCxnSpPr>
              <a:cxnSpLocks/>
            </p:cNvCxnSpPr>
            <p:nvPr/>
          </p:nvCxnSpPr>
          <p:spPr>
            <a:xfrm rot="10800000">
              <a:off x="1704737" y="2316033"/>
              <a:ext cx="0" cy="7560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9" name="Rechteck: abgerundete Ecken 68">
              <a:extLst>
                <a:ext uri="{FF2B5EF4-FFF2-40B4-BE49-F238E27FC236}">
                  <a16:creationId xmlns:a16="http://schemas.microsoft.com/office/drawing/2014/main" id="{48026D4F-1FAB-2248-11F0-FCB27CAF5461}"/>
                </a:ext>
              </a:extLst>
            </p:cNvPr>
            <p:cNvSpPr/>
            <p:nvPr/>
          </p:nvSpPr>
          <p:spPr>
            <a:xfrm>
              <a:off x="1748571" y="2528792"/>
              <a:ext cx="637126" cy="313807"/>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en-US" sz="720">
                  <a:solidFill>
                    <a:srgbClr val="FFFFFF"/>
                  </a:solidFill>
                  <a:latin typeface="Trebuchet MS"/>
                </a:rPr>
                <a:t>Output 1</a:t>
              </a:r>
            </a:p>
          </p:txBody>
        </p:sp>
        <p:cxnSp>
          <p:nvCxnSpPr>
            <p:cNvPr id="71" name="Gerade Verbindung mit Pfeil 70">
              <a:extLst>
                <a:ext uri="{FF2B5EF4-FFF2-40B4-BE49-F238E27FC236}">
                  <a16:creationId xmlns:a16="http://schemas.microsoft.com/office/drawing/2014/main" id="{BB1525BE-A7F9-2891-6705-70ED99C16AC8}"/>
                </a:ext>
              </a:extLst>
            </p:cNvPr>
            <p:cNvCxnSpPr>
              <a:cxnSpLocks/>
            </p:cNvCxnSpPr>
            <p:nvPr/>
          </p:nvCxnSpPr>
          <p:spPr>
            <a:xfrm>
              <a:off x="930316" y="3644630"/>
              <a:ext cx="0" cy="7560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2" name="Gerade Verbindung mit Pfeil 71">
              <a:extLst>
                <a:ext uri="{FF2B5EF4-FFF2-40B4-BE49-F238E27FC236}">
                  <a16:creationId xmlns:a16="http://schemas.microsoft.com/office/drawing/2014/main" id="{0FBD6920-518E-57F5-8215-C559EB725B9F}"/>
                </a:ext>
              </a:extLst>
            </p:cNvPr>
            <p:cNvCxnSpPr>
              <a:cxnSpLocks/>
            </p:cNvCxnSpPr>
            <p:nvPr/>
          </p:nvCxnSpPr>
          <p:spPr>
            <a:xfrm rot="10800000">
              <a:off x="1682819" y="3633757"/>
              <a:ext cx="0" cy="7560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3" name="Rechteck: abgerundete Ecken 72">
              <a:extLst>
                <a:ext uri="{FF2B5EF4-FFF2-40B4-BE49-F238E27FC236}">
                  <a16:creationId xmlns:a16="http://schemas.microsoft.com/office/drawing/2014/main" id="{E2D031C1-D412-C021-6615-04393AD90EE9}"/>
                </a:ext>
              </a:extLst>
            </p:cNvPr>
            <p:cNvSpPr/>
            <p:nvPr/>
          </p:nvSpPr>
          <p:spPr>
            <a:xfrm>
              <a:off x="260647" y="3862231"/>
              <a:ext cx="637126" cy="313807"/>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en-US" sz="720">
                  <a:solidFill>
                    <a:srgbClr val="FFFFFF"/>
                  </a:solidFill>
                  <a:latin typeface="Trebuchet MS"/>
                </a:rPr>
                <a:t>Input 1</a:t>
              </a:r>
            </a:p>
          </p:txBody>
        </p:sp>
        <p:sp>
          <p:nvSpPr>
            <p:cNvPr id="74" name="Rechteck: abgerundete Ecken 73">
              <a:extLst>
                <a:ext uri="{FF2B5EF4-FFF2-40B4-BE49-F238E27FC236}">
                  <a16:creationId xmlns:a16="http://schemas.microsoft.com/office/drawing/2014/main" id="{7E503300-C730-D284-BC0B-D270F373F4C6}"/>
                </a:ext>
              </a:extLst>
            </p:cNvPr>
            <p:cNvSpPr/>
            <p:nvPr/>
          </p:nvSpPr>
          <p:spPr>
            <a:xfrm>
              <a:off x="1748571" y="3862231"/>
              <a:ext cx="637126" cy="313807"/>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en-US" sz="720">
                  <a:solidFill>
                    <a:srgbClr val="FFFFFF"/>
                  </a:solidFill>
                  <a:latin typeface="Trebuchet MS"/>
                </a:rPr>
                <a:t>Output 1</a:t>
              </a:r>
            </a:p>
          </p:txBody>
        </p:sp>
        <p:sp>
          <p:nvSpPr>
            <p:cNvPr id="79" name="Rechteck: abgerundete Ecken 78">
              <a:extLst>
                <a:ext uri="{FF2B5EF4-FFF2-40B4-BE49-F238E27FC236}">
                  <a16:creationId xmlns:a16="http://schemas.microsoft.com/office/drawing/2014/main" id="{AB66626B-E79A-7D93-13FE-F3126557BE07}"/>
                </a:ext>
              </a:extLst>
            </p:cNvPr>
            <p:cNvSpPr/>
            <p:nvPr/>
          </p:nvSpPr>
          <p:spPr>
            <a:xfrm>
              <a:off x="3845441" y="2528501"/>
              <a:ext cx="637126" cy="313807"/>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en-US" sz="720">
                  <a:solidFill>
                    <a:srgbClr val="FFFFFF"/>
                  </a:solidFill>
                  <a:latin typeface="Trebuchet MS"/>
                </a:rPr>
                <a:t>Prompt 2</a:t>
              </a:r>
            </a:p>
          </p:txBody>
        </p:sp>
        <p:cxnSp>
          <p:nvCxnSpPr>
            <p:cNvPr id="80" name="Gerade Verbindung mit Pfeil 79">
              <a:extLst>
                <a:ext uri="{FF2B5EF4-FFF2-40B4-BE49-F238E27FC236}">
                  <a16:creationId xmlns:a16="http://schemas.microsoft.com/office/drawing/2014/main" id="{5836EE47-47F7-11DD-380C-6940C5B758DF}"/>
                </a:ext>
              </a:extLst>
            </p:cNvPr>
            <p:cNvCxnSpPr>
              <a:cxnSpLocks/>
            </p:cNvCxnSpPr>
            <p:nvPr/>
          </p:nvCxnSpPr>
          <p:spPr>
            <a:xfrm>
              <a:off x="4525661" y="2316863"/>
              <a:ext cx="0" cy="7560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46B652C9-BDED-A7B4-5B1F-95BB71541AD9}"/>
                </a:ext>
              </a:extLst>
            </p:cNvPr>
            <p:cNvCxnSpPr>
              <a:cxnSpLocks/>
            </p:cNvCxnSpPr>
            <p:nvPr/>
          </p:nvCxnSpPr>
          <p:spPr>
            <a:xfrm rot="10800000">
              <a:off x="5290895" y="2315742"/>
              <a:ext cx="0" cy="7560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2" name="Rechteck: abgerundete Ecken 81">
              <a:extLst>
                <a:ext uri="{FF2B5EF4-FFF2-40B4-BE49-F238E27FC236}">
                  <a16:creationId xmlns:a16="http://schemas.microsoft.com/office/drawing/2014/main" id="{09CE1349-329F-8B8F-F60F-505A879BBEC1}"/>
                </a:ext>
              </a:extLst>
            </p:cNvPr>
            <p:cNvSpPr/>
            <p:nvPr/>
          </p:nvSpPr>
          <p:spPr>
            <a:xfrm>
              <a:off x="5334729" y="2528501"/>
              <a:ext cx="637126" cy="313807"/>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en-US" sz="720">
                  <a:solidFill>
                    <a:srgbClr val="FFFFFF"/>
                  </a:solidFill>
                  <a:latin typeface="Trebuchet MS"/>
                </a:rPr>
                <a:t>Output 2</a:t>
              </a:r>
            </a:p>
          </p:txBody>
        </p:sp>
        <p:cxnSp>
          <p:nvCxnSpPr>
            <p:cNvPr id="83" name="Gerade Verbindung mit Pfeil 82">
              <a:extLst>
                <a:ext uri="{FF2B5EF4-FFF2-40B4-BE49-F238E27FC236}">
                  <a16:creationId xmlns:a16="http://schemas.microsoft.com/office/drawing/2014/main" id="{5FE87EB7-489F-1C61-F29B-E3197F6FB526}"/>
                </a:ext>
              </a:extLst>
            </p:cNvPr>
            <p:cNvCxnSpPr>
              <a:cxnSpLocks/>
            </p:cNvCxnSpPr>
            <p:nvPr/>
          </p:nvCxnSpPr>
          <p:spPr>
            <a:xfrm>
              <a:off x="4526127" y="3648957"/>
              <a:ext cx="0" cy="7560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4" name="Gerade Verbindung mit Pfeil 83">
              <a:extLst>
                <a:ext uri="{FF2B5EF4-FFF2-40B4-BE49-F238E27FC236}">
                  <a16:creationId xmlns:a16="http://schemas.microsoft.com/office/drawing/2014/main" id="{118DA1C7-4C11-EE09-7B52-9F51C6BD42FA}"/>
                </a:ext>
              </a:extLst>
            </p:cNvPr>
            <p:cNvCxnSpPr>
              <a:cxnSpLocks/>
            </p:cNvCxnSpPr>
            <p:nvPr/>
          </p:nvCxnSpPr>
          <p:spPr>
            <a:xfrm rot="10800000">
              <a:off x="5278630" y="3638084"/>
              <a:ext cx="0" cy="7560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5" name="Rechteck: abgerundete Ecken 84">
              <a:extLst>
                <a:ext uri="{FF2B5EF4-FFF2-40B4-BE49-F238E27FC236}">
                  <a16:creationId xmlns:a16="http://schemas.microsoft.com/office/drawing/2014/main" id="{3DB73F21-A125-DF56-E2C7-EADC76E9EAF7}"/>
                </a:ext>
              </a:extLst>
            </p:cNvPr>
            <p:cNvSpPr/>
            <p:nvPr/>
          </p:nvSpPr>
          <p:spPr>
            <a:xfrm>
              <a:off x="3592832" y="3863144"/>
              <a:ext cx="885358" cy="313807"/>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en-US" sz="720">
                  <a:solidFill>
                    <a:srgbClr val="FFFFFF"/>
                  </a:solidFill>
                  <a:latin typeface="Trebuchet MS"/>
                </a:rPr>
                <a:t>Chat History &amp; Input 2</a:t>
              </a:r>
            </a:p>
          </p:txBody>
        </p:sp>
        <p:sp>
          <p:nvSpPr>
            <p:cNvPr id="86" name="Rechteck: abgerundete Ecken 85">
              <a:extLst>
                <a:ext uri="{FF2B5EF4-FFF2-40B4-BE49-F238E27FC236}">
                  <a16:creationId xmlns:a16="http://schemas.microsoft.com/office/drawing/2014/main" id="{8A798875-374A-4CB7-5E0C-981A7CD754AD}"/>
                </a:ext>
              </a:extLst>
            </p:cNvPr>
            <p:cNvSpPr/>
            <p:nvPr/>
          </p:nvSpPr>
          <p:spPr>
            <a:xfrm>
              <a:off x="5334729" y="3862231"/>
              <a:ext cx="637126" cy="313807"/>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en-US" sz="720">
                  <a:solidFill>
                    <a:srgbClr val="FFFFFF"/>
                  </a:solidFill>
                  <a:latin typeface="Trebuchet MS"/>
                </a:rPr>
                <a:t>Output 2</a:t>
              </a:r>
            </a:p>
          </p:txBody>
        </p:sp>
      </p:grpSp>
      <p:sp>
        <p:nvSpPr>
          <p:cNvPr id="5" name="Rechteck: abgerundete Ecken 4">
            <a:extLst>
              <a:ext uri="{FF2B5EF4-FFF2-40B4-BE49-F238E27FC236}">
                <a16:creationId xmlns:a16="http://schemas.microsoft.com/office/drawing/2014/main" id="{EF2F9D6C-D4B4-6B01-755F-73124834438C}"/>
              </a:ext>
            </a:extLst>
          </p:cNvPr>
          <p:cNvSpPr/>
          <p:nvPr/>
        </p:nvSpPr>
        <p:spPr>
          <a:xfrm>
            <a:off x="3843151" y="4106126"/>
            <a:ext cx="796823" cy="28242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en-US" sz="720">
                <a:solidFill>
                  <a:srgbClr val="FFFFFF"/>
                </a:solidFill>
                <a:latin typeface="Trebuchet MS"/>
              </a:rPr>
              <a:t>Chat History &amp; Input 2</a:t>
            </a:r>
          </a:p>
        </p:txBody>
      </p:sp>
    </p:spTree>
    <p:extLst>
      <p:ext uri="{BB962C8B-B14F-4D97-AF65-F5344CB8AC3E}">
        <p14:creationId xmlns:p14="http://schemas.microsoft.com/office/powerpoint/2010/main" val="1720484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6C2923-DD12-AC33-11D3-BA01AD23B977}"/>
              </a:ext>
            </a:extLst>
          </p:cNvPr>
          <p:cNvSpPr>
            <a:spLocks noGrp="1"/>
          </p:cNvSpPr>
          <p:nvPr>
            <p:ph type="title"/>
          </p:nvPr>
        </p:nvSpPr>
        <p:spPr/>
        <p:txBody>
          <a:bodyPr/>
          <a:lstStyle/>
          <a:p>
            <a:r>
              <a:rPr lang="de-DE"/>
              <a:t>Best Practice zur inhaltlichen Gestaltung von Prompts - </a:t>
            </a:r>
            <a:br>
              <a:rPr lang="de-DE"/>
            </a:br>
            <a:r>
              <a:rPr lang="de-DE"/>
              <a:t>(1) Zielstellung konkretisieren</a:t>
            </a:r>
          </a:p>
        </p:txBody>
      </p:sp>
      <p:sp>
        <p:nvSpPr>
          <p:cNvPr id="4" name="Foliennummernplatzhalter 3">
            <a:extLst>
              <a:ext uri="{FF2B5EF4-FFF2-40B4-BE49-F238E27FC236}">
                <a16:creationId xmlns:a16="http://schemas.microsoft.com/office/drawing/2014/main" id="{07D12C98-81FC-D99C-24D7-8EE1080A9AEA}"/>
              </a:ext>
            </a:extLst>
          </p:cNvPr>
          <p:cNvSpPr>
            <a:spLocks noGrp="1"/>
          </p:cNvSpPr>
          <p:nvPr>
            <p:ph type="sldNum" sz="quarter" idx="12"/>
          </p:nvPr>
        </p:nvSpPr>
        <p:spPr/>
        <p:txBody>
          <a:bodyPr/>
          <a:lstStyle/>
          <a:p>
            <a:pPr defTabSz="822960">
              <a:defRPr/>
            </a:pPr>
            <a:fld id="{64647E8F-5052-4581-98D0-7C32D5A45346}" type="slidenum">
              <a:rPr lang="en-US" sz="810">
                <a:solidFill>
                  <a:srgbClr val="889194"/>
                </a:solidFill>
                <a:latin typeface="Trebuchet MS"/>
              </a:rPr>
              <a:pPr defTabSz="822960">
                <a:defRPr/>
              </a:pPr>
              <a:t>37</a:t>
            </a:fld>
            <a:endParaRPr lang="en-US" sz="810">
              <a:solidFill>
                <a:srgbClr val="889194"/>
              </a:solidFill>
              <a:latin typeface="Trebuchet MS"/>
            </a:endParaRPr>
          </a:p>
        </p:txBody>
      </p:sp>
      <p:sp>
        <p:nvSpPr>
          <p:cNvPr id="5" name="Inhaltsplatzhalter 4">
            <a:extLst>
              <a:ext uri="{FF2B5EF4-FFF2-40B4-BE49-F238E27FC236}">
                <a16:creationId xmlns:a16="http://schemas.microsoft.com/office/drawing/2014/main" id="{BBDC3F50-22BD-FDBE-8642-DC353F7FD6BA}"/>
              </a:ext>
            </a:extLst>
          </p:cNvPr>
          <p:cNvSpPr>
            <a:spLocks noGrp="1"/>
          </p:cNvSpPr>
          <p:nvPr>
            <p:ph sz="quarter" idx="13"/>
          </p:nvPr>
        </p:nvSpPr>
        <p:spPr>
          <a:xfrm>
            <a:off x="1072829" y="1616416"/>
            <a:ext cx="9979200" cy="3984784"/>
          </a:xfrm>
        </p:spPr>
        <p:txBody>
          <a:bodyPr/>
          <a:lstStyle/>
          <a:p>
            <a:pPr marL="0" indent="0">
              <a:buNone/>
            </a:pPr>
            <a:endParaRPr lang="de-DE"/>
          </a:p>
          <a:p>
            <a:pPr marL="0" indent="0">
              <a:buNone/>
            </a:pPr>
            <a:endParaRPr lang="de-DE"/>
          </a:p>
          <a:p>
            <a:pPr marL="0" indent="0">
              <a:buNone/>
            </a:pPr>
            <a:endParaRPr lang="de-DE"/>
          </a:p>
          <a:p>
            <a:pPr marL="0" indent="0">
              <a:buNone/>
            </a:pPr>
            <a:endParaRPr lang="de-DE"/>
          </a:p>
          <a:p>
            <a:pPr marL="0" indent="0">
              <a:buNone/>
            </a:pPr>
            <a:endParaRPr lang="de-DE"/>
          </a:p>
          <a:p>
            <a:pPr marL="0" indent="0">
              <a:buNone/>
            </a:pPr>
            <a:endParaRPr lang="de-DE"/>
          </a:p>
          <a:p>
            <a:pPr marL="0" indent="0">
              <a:buNone/>
            </a:pPr>
            <a:endParaRPr lang="de-DE"/>
          </a:p>
        </p:txBody>
      </p:sp>
      <p:sp>
        <p:nvSpPr>
          <p:cNvPr id="7" name="Inhaltsplatzhalter 6">
            <a:extLst>
              <a:ext uri="{FF2B5EF4-FFF2-40B4-BE49-F238E27FC236}">
                <a16:creationId xmlns:a16="http://schemas.microsoft.com/office/drawing/2014/main" id="{C5085650-91AB-20E8-5E92-8335334B786A}"/>
              </a:ext>
            </a:extLst>
          </p:cNvPr>
          <p:cNvSpPr>
            <a:spLocks noGrp="1"/>
          </p:cNvSpPr>
          <p:nvPr>
            <p:ph sz="quarter" idx="17"/>
          </p:nvPr>
        </p:nvSpPr>
        <p:spPr/>
        <p:txBody>
          <a:bodyPr/>
          <a:lstStyle/>
          <a:p>
            <a:r>
              <a:rPr lang="de-DE"/>
              <a:t>Atlas, S. (2023). </a:t>
            </a:r>
          </a:p>
        </p:txBody>
      </p:sp>
      <p:grpSp>
        <p:nvGrpSpPr>
          <p:cNvPr id="16" name="Gruppieren 15">
            <a:extLst>
              <a:ext uri="{FF2B5EF4-FFF2-40B4-BE49-F238E27FC236}">
                <a16:creationId xmlns:a16="http://schemas.microsoft.com/office/drawing/2014/main" id="{C3C4BFF7-0224-64B3-1903-690B8A559691}"/>
              </a:ext>
            </a:extLst>
          </p:cNvPr>
          <p:cNvGrpSpPr/>
          <p:nvPr/>
        </p:nvGrpSpPr>
        <p:grpSpPr>
          <a:xfrm>
            <a:off x="1105323" y="1733556"/>
            <a:ext cx="8499995" cy="1356670"/>
            <a:chOff x="550800" y="3663214"/>
            <a:chExt cx="7757091" cy="1731684"/>
          </a:xfrm>
        </p:grpSpPr>
        <p:grpSp>
          <p:nvGrpSpPr>
            <p:cNvPr id="9" name="Gruppieren 8">
              <a:extLst>
                <a:ext uri="{FF2B5EF4-FFF2-40B4-BE49-F238E27FC236}">
                  <a16:creationId xmlns:a16="http://schemas.microsoft.com/office/drawing/2014/main" id="{279E56F5-978E-11AD-C719-88864A5E10AB}"/>
                </a:ext>
              </a:extLst>
            </p:cNvPr>
            <p:cNvGrpSpPr/>
            <p:nvPr/>
          </p:nvGrpSpPr>
          <p:grpSpPr>
            <a:xfrm>
              <a:off x="550800" y="3663214"/>
              <a:ext cx="7757091" cy="1731684"/>
              <a:chOff x="550862" y="1529416"/>
              <a:chExt cx="7757091" cy="1731684"/>
            </a:xfrm>
          </p:grpSpPr>
          <p:sp>
            <p:nvSpPr>
              <p:cNvPr id="10" name="Textplatzhalter 5">
                <a:extLst>
                  <a:ext uri="{FF2B5EF4-FFF2-40B4-BE49-F238E27FC236}">
                    <a16:creationId xmlns:a16="http://schemas.microsoft.com/office/drawing/2014/main" id="{50ECB3B3-DD68-2C42-E95A-6ADDEB5542AE}"/>
                  </a:ext>
                </a:extLst>
              </p:cNvPr>
              <p:cNvSpPr txBox="1">
                <a:spLocks/>
              </p:cNvSpPr>
              <p:nvPr/>
            </p:nvSpPr>
            <p:spPr>
              <a:xfrm>
                <a:off x="550874" y="1529416"/>
                <a:ext cx="7757079" cy="1731684"/>
              </a:xfrm>
              <a:prstGeom prst="roundRect">
                <a:avLst/>
              </a:prstGeom>
              <a:solidFill>
                <a:srgbClr val="FFFFFF"/>
              </a:solidFill>
              <a:effectLst>
                <a:outerShdw blurRad="63500" algn="ctr" rotWithShape="0">
                  <a:prstClr val="black">
                    <a:alpha val="40000"/>
                  </a:prstClr>
                </a:outerShdw>
              </a:effectLst>
            </p:spPr>
            <p:txBody>
              <a:bodyPr vert="horz" lIns="388800" tIns="97200" rIns="162000" bIns="97200" rtlCol="0" anchor="ctr">
                <a:noAutofit/>
              </a:bodyPr>
              <a:lstStyle>
                <a:lvl1pPr marL="0" indent="0" algn="l" defTabSz="742950" rtl="0" eaLnBrk="1" latinLnBrk="0" hangingPunct="1">
                  <a:lnSpc>
                    <a:spcPct val="100000"/>
                  </a:lnSpc>
                  <a:spcBef>
                    <a:spcPts val="600"/>
                  </a:spcBef>
                  <a:buFont typeface="Wingdings" panose="05000000000000000000" pitchFamily="2" charset="2"/>
                  <a:buNone/>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defTabSz="668656">
                  <a:spcBef>
                    <a:spcPts val="540"/>
                  </a:spcBef>
                  <a:defRPr/>
                </a:pPr>
                <a:endParaRPr lang="de-DE" sz="1440" b="1">
                  <a:solidFill>
                    <a:srgbClr val="368ECE"/>
                  </a:solidFill>
                  <a:latin typeface="Trebuchet MS"/>
                </a:endParaRPr>
              </a:p>
            </p:txBody>
          </p:sp>
          <p:sp>
            <p:nvSpPr>
              <p:cNvPr id="11" name="Rechteck 10">
                <a:extLst>
                  <a:ext uri="{FF2B5EF4-FFF2-40B4-BE49-F238E27FC236}">
                    <a16:creationId xmlns:a16="http://schemas.microsoft.com/office/drawing/2014/main" id="{B896E595-66E4-A814-16C7-A488700A1F29}"/>
                  </a:ext>
                </a:extLst>
              </p:cNvPr>
              <p:cNvSpPr/>
              <p:nvPr/>
            </p:nvSpPr>
            <p:spPr>
              <a:xfrm>
                <a:off x="550862" y="1529416"/>
                <a:ext cx="7757079" cy="3605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de-DE" sz="1440" b="1">
                    <a:solidFill>
                      <a:srgbClr val="FFFFFF"/>
                    </a:solidFill>
                    <a:latin typeface="Trebuchet MS"/>
                  </a:rPr>
                  <a:t>Zielstellung</a:t>
                </a:r>
                <a:endParaRPr lang="de-DE" sz="1260" b="1">
                  <a:solidFill>
                    <a:srgbClr val="FFFFFF"/>
                  </a:solidFill>
                  <a:latin typeface="Trebuchet MS"/>
                </a:endParaRPr>
              </a:p>
            </p:txBody>
          </p:sp>
          <p:sp>
            <p:nvSpPr>
              <p:cNvPr id="13" name="Textfeld 12">
                <a:extLst>
                  <a:ext uri="{FF2B5EF4-FFF2-40B4-BE49-F238E27FC236}">
                    <a16:creationId xmlns:a16="http://schemas.microsoft.com/office/drawing/2014/main" id="{DB42F87E-45D0-5422-1C65-867F42AEDA91}"/>
                  </a:ext>
                </a:extLst>
              </p:cNvPr>
              <p:cNvSpPr txBox="1"/>
              <p:nvPr/>
            </p:nvSpPr>
            <p:spPr>
              <a:xfrm>
                <a:off x="720393" y="1969141"/>
                <a:ext cx="6174214" cy="978795"/>
              </a:xfrm>
              <a:prstGeom prst="rect">
                <a:avLst/>
              </a:prstGeom>
            </p:spPr>
            <p:txBody>
              <a:bodyPr vert="horz" wrap="square" lIns="0" tIns="0" rIns="0" bIns="0" rtlCol="0">
                <a:noAutofit/>
              </a:bodyPr>
              <a:lstStyle/>
              <a:p>
                <a:pPr marL="257176" indent="-257176" defTabSz="822960">
                  <a:buFont typeface="Arial" panose="020B0604020202020204" pitchFamily="34" charset="0"/>
                  <a:buChar char="•"/>
                  <a:defRPr/>
                </a:pPr>
                <a:r>
                  <a:rPr lang="de-DE" sz="1440" err="1">
                    <a:solidFill>
                      <a:srgbClr val="000000"/>
                    </a:solidFill>
                    <a:latin typeface="Trebuchet MS"/>
                  </a:rPr>
                  <a:t>ChatGPT</a:t>
                </a:r>
                <a:r>
                  <a:rPr lang="de-DE" sz="1440">
                    <a:solidFill>
                      <a:srgbClr val="000000"/>
                    </a:solidFill>
                    <a:latin typeface="Trebuchet MS"/>
                  </a:rPr>
                  <a:t> Ziel der Nutzung detailliert mitteilen</a:t>
                </a:r>
              </a:p>
              <a:p>
                <a:pPr marL="257176" indent="-257176" defTabSz="822960">
                  <a:buFont typeface="Arial" panose="020B0604020202020204" pitchFamily="34" charset="0"/>
                  <a:buChar char="•"/>
                  <a:defRPr/>
                </a:pPr>
                <a:r>
                  <a:rPr lang="de-DE" sz="1440">
                    <a:solidFill>
                      <a:srgbClr val="000000"/>
                    </a:solidFill>
                    <a:latin typeface="Trebuchet MS"/>
                  </a:rPr>
                  <a:t>In weiteren Prompts kann </a:t>
                </a:r>
                <a:r>
                  <a:rPr lang="de-DE" sz="1440" err="1">
                    <a:solidFill>
                      <a:srgbClr val="000000"/>
                    </a:solidFill>
                    <a:latin typeface="Trebuchet MS"/>
                  </a:rPr>
                  <a:t>ChatGPT</a:t>
                </a:r>
                <a:r>
                  <a:rPr lang="de-DE" sz="1440">
                    <a:solidFill>
                      <a:srgbClr val="000000"/>
                    </a:solidFill>
                    <a:latin typeface="Trebuchet MS"/>
                  </a:rPr>
                  <a:t> Ziel im „</a:t>
                </a:r>
                <a:r>
                  <a:rPr lang="de-DE" sz="1440" b="1">
                    <a:solidFill>
                      <a:srgbClr val="000000"/>
                    </a:solidFill>
                    <a:latin typeface="Trebuchet MS"/>
                  </a:rPr>
                  <a:t>Hinterkopf</a:t>
                </a:r>
                <a:r>
                  <a:rPr lang="de-DE" sz="1440">
                    <a:solidFill>
                      <a:srgbClr val="000000"/>
                    </a:solidFill>
                    <a:latin typeface="Trebuchet MS"/>
                  </a:rPr>
                  <a:t>“ behalten und generiert zielführendere neuere Outputs.</a:t>
                </a:r>
                <a:br>
                  <a:rPr lang="de-DE" sz="1440">
                    <a:solidFill>
                      <a:srgbClr val="000000"/>
                    </a:solidFill>
                    <a:latin typeface="Trebuchet MS"/>
                  </a:rPr>
                </a:br>
                <a:endParaRPr lang="en-US" sz="1260">
                  <a:solidFill>
                    <a:srgbClr val="889194">
                      <a:lumMod val="75000"/>
                    </a:srgbClr>
                  </a:solidFill>
                  <a:latin typeface="Trebuchet MS"/>
                </a:endParaRPr>
              </a:p>
            </p:txBody>
          </p:sp>
        </p:grpSp>
        <p:pic>
          <p:nvPicPr>
            <p:cNvPr id="15" name="Grafik 14" descr="Rennflagge mit einfarbiger Füllung">
              <a:extLst>
                <a:ext uri="{FF2B5EF4-FFF2-40B4-BE49-F238E27FC236}">
                  <a16:creationId xmlns:a16="http://schemas.microsoft.com/office/drawing/2014/main" id="{30F84065-357B-44D1-EF8D-D81D8F676B9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49928" y="4041046"/>
              <a:ext cx="1102580" cy="1102580"/>
            </a:xfrm>
            <a:prstGeom prst="rect">
              <a:avLst/>
            </a:prstGeom>
          </p:spPr>
        </p:pic>
      </p:grpSp>
      <p:grpSp>
        <p:nvGrpSpPr>
          <p:cNvPr id="29" name="Gruppieren 28">
            <a:extLst>
              <a:ext uri="{FF2B5EF4-FFF2-40B4-BE49-F238E27FC236}">
                <a16:creationId xmlns:a16="http://schemas.microsoft.com/office/drawing/2014/main" id="{03BC7997-AAD5-5A8B-8E35-7364FC4C9540}"/>
              </a:ext>
            </a:extLst>
          </p:cNvPr>
          <p:cNvGrpSpPr/>
          <p:nvPr/>
        </p:nvGrpSpPr>
        <p:grpSpPr>
          <a:xfrm>
            <a:off x="7985302" y="3525512"/>
            <a:ext cx="3597098" cy="2192828"/>
            <a:chOff x="558213" y="3517820"/>
            <a:chExt cx="4524528" cy="2544910"/>
          </a:xfrm>
        </p:grpSpPr>
        <p:grpSp>
          <p:nvGrpSpPr>
            <p:cNvPr id="18" name="Group 95">
              <a:extLst>
                <a:ext uri="{FF2B5EF4-FFF2-40B4-BE49-F238E27FC236}">
                  <a16:creationId xmlns:a16="http://schemas.microsoft.com/office/drawing/2014/main" id="{CD8E0F82-26C1-0E92-018D-7CE870A5850A}"/>
                </a:ext>
              </a:extLst>
            </p:cNvPr>
            <p:cNvGrpSpPr>
              <a:grpSpLocks noChangeAspect="1"/>
            </p:cNvGrpSpPr>
            <p:nvPr/>
          </p:nvGrpSpPr>
          <p:grpSpPr>
            <a:xfrm>
              <a:off x="558213" y="3517820"/>
              <a:ext cx="4524528" cy="2544910"/>
              <a:chOff x="1055342" y="453552"/>
              <a:chExt cx="4497078" cy="2616134"/>
            </a:xfrm>
            <a:effectLst/>
          </p:grpSpPr>
          <p:grpSp>
            <p:nvGrpSpPr>
              <p:cNvPr id="21" name="Group 96">
                <a:extLst>
                  <a:ext uri="{FF2B5EF4-FFF2-40B4-BE49-F238E27FC236}">
                    <a16:creationId xmlns:a16="http://schemas.microsoft.com/office/drawing/2014/main" id="{D8F5B73C-2586-708A-038F-9F4FDE14F1FB}"/>
                  </a:ext>
                </a:extLst>
              </p:cNvPr>
              <p:cNvGrpSpPr/>
              <p:nvPr/>
            </p:nvGrpSpPr>
            <p:grpSpPr>
              <a:xfrm>
                <a:off x="1408962" y="453552"/>
                <a:ext cx="3789838" cy="2455380"/>
                <a:chOff x="4389513" y="454854"/>
                <a:chExt cx="3789838" cy="2455380"/>
              </a:xfrm>
            </p:grpSpPr>
            <p:sp>
              <p:nvSpPr>
                <p:cNvPr id="26" name="Rectangle: Rounded Corners 101">
                  <a:extLst>
                    <a:ext uri="{FF2B5EF4-FFF2-40B4-BE49-F238E27FC236}">
                      <a16:creationId xmlns:a16="http://schemas.microsoft.com/office/drawing/2014/main" id="{9F477D31-A463-0DBC-6B6C-DB16B10E1194}"/>
                    </a:ext>
                  </a:extLst>
                </p:cNvPr>
                <p:cNvSpPr/>
                <p:nvPr/>
              </p:nvSpPr>
              <p:spPr>
                <a:xfrm>
                  <a:off x="4389513" y="454854"/>
                  <a:ext cx="3789838" cy="2455380"/>
                </a:xfrm>
                <a:prstGeom prst="roundRect">
                  <a:avLst>
                    <a:gd name="adj" fmla="val 6493"/>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latin typeface="Trebuchet MS"/>
                  </a:endParaRPr>
                </a:p>
              </p:txBody>
            </p:sp>
            <p:sp>
              <p:nvSpPr>
                <p:cNvPr id="27" name="Rectangle 102">
                  <a:extLst>
                    <a:ext uri="{FF2B5EF4-FFF2-40B4-BE49-F238E27FC236}">
                      <a16:creationId xmlns:a16="http://schemas.microsoft.com/office/drawing/2014/main" id="{01B1BDE3-5E00-61B7-F1FB-9305D7366F46}"/>
                    </a:ext>
                  </a:extLst>
                </p:cNvPr>
                <p:cNvSpPr/>
                <p:nvPr/>
              </p:nvSpPr>
              <p:spPr>
                <a:xfrm>
                  <a:off x="4515984" y="639042"/>
                  <a:ext cx="3536895" cy="2087005"/>
                </a:xfrm>
                <a:prstGeom prst="rect">
                  <a:avLst/>
                </a:prstGeom>
                <a:solidFill>
                  <a:srgbClr val="3435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22960">
                    <a:defRPr/>
                  </a:pPr>
                  <a:endParaRPr lang="de-DE" sz="1620" b="1" kern="0">
                    <a:solidFill>
                      <a:srgbClr val="FFFFFF"/>
                    </a:solidFill>
                    <a:latin typeface="Arial Black" panose="020B0604020202020204" pitchFamily="34" charset="0"/>
                    <a:cs typeface="Arial Black" panose="020B0604020202020204" pitchFamily="34" charset="0"/>
                  </a:endParaRPr>
                </a:p>
                <a:p>
                  <a:pPr algn="ctr" defTabSz="822960">
                    <a:defRPr/>
                  </a:pPr>
                  <a:r>
                    <a:rPr lang="de-DE" sz="1620" b="1" kern="0">
                      <a:solidFill>
                        <a:srgbClr val="FFFFFF"/>
                      </a:solidFill>
                      <a:latin typeface="Arial Black" panose="020B0604020202020204" pitchFamily="34" charset="0"/>
                      <a:cs typeface="Arial Black" panose="020B0604020202020204" pitchFamily="34" charset="0"/>
                    </a:rPr>
                    <a:t>ChatGPT</a:t>
                  </a:r>
                </a:p>
              </p:txBody>
            </p:sp>
          </p:grpSp>
          <p:sp>
            <p:nvSpPr>
              <p:cNvPr id="22" name="Rectangle 97">
                <a:extLst>
                  <a:ext uri="{FF2B5EF4-FFF2-40B4-BE49-F238E27FC236}">
                    <a16:creationId xmlns:a16="http://schemas.microsoft.com/office/drawing/2014/main" id="{21426482-F90C-41B7-8BF1-586E2275960C}"/>
                  </a:ext>
                </a:extLst>
              </p:cNvPr>
              <p:cNvSpPr/>
              <p:nvPr/>
            </p:nvSpPr>
            <p:spPr>
              <a:xfrm>
                <a:off x="1055342" y="2904652"/>
                <a:ext cx="4497078" cy="86107"/>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latin typeface="Trebuchet MS"/>
                </a:endParaRPr>
              </a:p>
            </p:txBody>
          </p:sp>
          <p:sp>
            <p:nvSpPr>
              <p:cNvPr id="23" name="Oval 98">
                <a:extLst>
                  <a:ext uri="{FF2B5EF4-FFF2-40B4-BE49-F238E27FC236}">
                    <a16:creationId xmlns:a16="http://schemas.microsoft.com/office/drawing/2014/main" id="{1E857470-C685-0CAC-B743-6E1ED5864229}"/>
                  </a:ext>
                </a:extLst>
              </p:cNvPr>
              <p:cNvSpPr>
                <a:spLocks noChangeAspect="1"/>
              </p:cNvSpPr>
              <p:nvPr/>
            </p:nvSpPr>
            <p:spPr>
              <a:xfrm>
                <a:off x="3275059" y="505184"/>
                <a:ext cx="57643" cy="5764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latin typeface="Trebuchet MS"/>
                </a:endParaRPr>
              </a:p>
            </p:txBody>
          </p:sp>
          <p:sp>
            <p:nvSpPr>
              <p:cNvPr id="24" name="Freeform: Shape 99">
                <a:extLst>
                  <a:ext uri="{FF2B5EF4-FFF2-40B4-BE49-F238E27FC236}">
                    <a16:creationId xmlns:a16="http://schemas.microsoft.com/office/drawing/2014/main" id="{15B426B5-8733-A239-6527-8EECAC225A6C}"/>
                  </a:ext>
                </a:extLst>
              </p:cNvPr>
              <p:cNvSpPr/>
              <p:nvPr/>
            </p:nvSpPr>
            <p:spPr>
              <a:xfrm>
                <a:off x="1055628" y="2990759"/>
                <a:ext cx="4496506" cy="78927"/>
              </a:xfrm>
              <a:custGeom>
                <a:avLst/>
                <a:gdLst>
                  <a:gd name="connsiteX0" fmla="*/ 0 w 4496506"/>
                  <a:gd name="connsiteY0" fmla="*/ 0 h 220830"/>
                  <a:gd name="connsiteX1" fmla="*/ 4496506 w 4496506"/>
                  <a:gd name="connsiteY1" fmla="*/ 0 h 220830"/>
                  <a:gd name="connsiteX2" fmla="*/ 4451111 w 4496506"/>
                  <a:gd name="connsiteY2" fmla="*/ 88068 h 220830"/>
                  <a:gd name="connsiteX3" fmla="*/ 4320092 w 4496506"/>
                  <a:gd name="connsiteY3" fmla="*/ 170614 h 220830"/>
                  <a:gd name="connsiteX4" fmla="*/ 4180724 w 4496506"/>
                  <a:gd name="connsiteY4" fmla="*/ 220830 h 220830"/>
                  <a:gd name="connsiteX5" fmla="*/ 315782 w 4496506"/>
                  <a:gd name="connsiteY5" fmla="*/ 220830 h 220830"/>
                  <a:gd name="connsiteX6" fmla="*/ 176415 w 4496506"/>
                  <a:gd name="connsiteY6" fmla="*/ 170614 h 220830"/>
                  <a:gd name="connsiteX7" fmla="*/ 45396 w 4496506"/>
                  <a:gd name="connsiteY7" fmla="*/ 88068 h 22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506" h="220830">
                    <a:moveTo>
                      <a:pt x="0" y="0"/>
                    </a:moveTo>
                    <a:lnTo>
                      <a:pt x="4496506" y="0"/>
                    </a:lnTo>
                    <a:lnTo>
                      <a:pt x="4451111" y="88068"/>
                    </a:lnTo>
                    <a:cubicBezTo>
                      <a:pt x="4421158" y="116695"/>
                      <a:pt x="4376983" y="144309"/>
                      <a:pt x="4320092" y="170614"/>
                    </a:cubicBezTo>
                    <a:lnTo>
                      <a:pt x="4180724" y="220830"/>
                    </a:lnTo>
                    <a:lnTo>
                      <a:pt x="315782" y="220830"/>
                    </a:lnTo>
                    <a:lnTo>
                      <a:pt x="176415" y="170614"/>
                    </a:lnTo>
                    <a:cubicBezTo>
                      <a:pt x="119523" y="144309"/>
                      <a:pt x="75348" y="116695"/>
                      <a:pt x="45396" y="88068"/>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latin typeface="Trebuchet MS"/>
                </a:endParaRPr>
              </a:p>
            </p:txBody>
          </p:sp>
          <p:sp>
            <p:nvSpPr>
              <p:cNvPr id="25" name="Freeform: Shape 100">
                <a:extLst>
                  <a:ext uri="{FF2B5EF4-FFF2-40B4-BE49-F238E27FC236}">
                    <a16:creationId xmlns:a16="http://schemas.microsoft.com/office/drawing/2014/main" id="{D7BD75EC-0534-99AD-192E-7402610085C0}"/>
                  </a:ext>
                </a:extLst>
              </p:cNvPr>
              <p:cNvSpPr/>
              <p:nvPr/>
            </p:nvSpPr>
            <p:spPr>
              <a:xfrm>
                <a:off x="2859077" y="2910234"/>
                <a:ext cx="889609" cy="64885"/>
              </a:xfrm>
              <a:custGeom>
                <a:avLst/>
                <a:gdLst>
                  <a:gd name="connsiteX0" fmla="*/ 0 w 4496506"/>
                  <a:gd name="connsiteY0" fmla="*/ 0 h 220830"/>
                  <a:gd name="connsiteX1" fmla="*/ 4496506 w 4496506"/>
                  <a:gd name="connsiteY1" fmla="*/ 0 h 220830"/>
                  <a:gd name="connsiteX2" fmla="*/ 4451111 w 4496506"/>
                  <a:gd name="connsiteY2" fmla="*/ 88068 h 220830"/>
                  <a:gd name="connsiteX3" fmla="*/ 4320092 w 4496506"/>
                  <a:gd name="connsiteY3" fmla="*/ 170614 h 220830"/>
                  <a:gd name="connsiteX4" fmla="*/ 4180724 w 4496506"/>
                  <a:gd name="connsiteY4" fmla="*/ 220830 h 220830"/>
                  <a:gd name="connsiteX5" fmla="*/ 315782 w 4496506"/>
                  <a:gd name="connsiteY5" fmla="*/ 220830 h 220830"/>
                  <a:gd name="connsiteX6" fmla="*/ 176415 w 4496506"/>
                  <a:gd name="connsiteY6" fmla="*/ 170614 h 220830"/>
                  <a:gd name="connsiteX7" fmla="*/ 45396 w 4496506"/>
                  <a:gd name="connsiteY7" fmla="*/ 88068 h 22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506" h="220830">
                    <a:moveTo>
                      <a:pt x="0" y="0"/>
                    </a:moveTo>
                    <a:lnTo>
                      <a:pt x="4496506" y="0"/>
                    </a:lnTo>
                    <a:lnTo>
                      <a:pt x="4451111" y="88068"/>
                    </a:lnTo>
                    <a:cubicBezTo>
                      <a:pt x="4421158" y="116695"/>
                      <a:pt x="4376983" y="144309"/>
                      <a:pt x="4320092" y="170614"/>
                    </a:cubicBezTo>
                    <a:lnTo>
                      <a:pt x="4180724" y="220830"/>
                    </a:lnTo>
                    <a:lnTo>
                      <a:pt x="315782" y="220830"/>
                    </a:lnTo>
                    <a:lnTo>
                      <a:pt x="176415" y="170614"/>
                    </a:lnTo>
                    <a:cubicBezTo>
                      <a:pt x="119523" y="144309"/>
                      <a:pt x="75348" y="116695"/>
                      <a:pt x="45396" y="88068"/>
                    </a:cubicBez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latin typeface="Trebuchet MS"/>
                </a:endParaRPr>
              </a:p>
            </p:txBody>
          </p:sp>
        </p:grpSp>
        <p:sp>
          <p:nvSpPr>
            <p:cNvPr id="28" name="Abgerundetes Rechteck 27">
              <a:extLst>
                <a:ext uri="{FF2B5EF4-FFF2-40B4-BE49-F238E27FC236}">
                  <a16:creationId xmlns:a16="http://schemas.microsoft.com/office/drawing/2014/main" id="{CDB58B64-B56B-0F16-9CC9-AC6A7C77DFD9}"/>
                </a:ext>
              </a:extLst>
            </p:cNvPr>
            <p:cNvSpPr/>
            <p:nvPr/>
          </p:nvSpPr>
          <p:spPr>
            <a:xfrm>
              <a:off x="1097583" y="4828250"/>
              <a:ext cx="3428905" cy="773426"/>
            </a:xfrm>
            <a:prstGeom prst="roundRect">
              <a:avLst/>
            </a:prstGeom>
            <a:solidFill>
              <a:srgbClr val="404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960">
                <a:defRPr/>
              </a:pPr>
              <a:r>
                <a:rPr lang="de-DE" sz="1080">
                  <a:solidFill>
                    <a:srgbClr val="FFFFFF"/>
                  </a:solidFill>
                  <a:latin typeface="Courier New" panose="02070309020205020404" pitchFamily="49" charset="0"/>
                  <a:cs typeface="Courier New" panose="02070309020205020404" pitchFamily="49" charset="0"/>
                </a:rPr>
                <a:t>Ich möchte einen Artikel über den Nutzen von Alltagsbewegung für ein studentisches Journal schreiben.</a:t>
              </a:r>
            </a:p>
          </p:txBody>
        </p:sp>
      </p:grpSp>
      <p:graphicFrame>
        <p:nvGraphicFramePr>
          <p:cNvPr id="35" name="Inhaltsplatzhalter 7">
            <a:extLst>
              <a:ext uri="{FF2B5EF4-FFF2-40B4-BE49-F238E27FC236}">
                <a16:creationId xmlns:a16="http://schemas.microsoft.com/office/drawing/2014/main" id="{BC612E80-1EFC-AE37-1FBF-BDABBD7C78E1}"/>
              </a:ext>
            </a:extLst>
          </p:cNvPr>
          <p:cNvGraphicFramePr>
            <a:graphicFrameLocks/>
          </p:cNvGraphicFramePr>
          <p:nvPr>
            <p:extLst>
              <p:ext uri="{D42A27DB-BD31-4B8C-83A1-F6EECF244321}">
                <p14:modId xmlns:p14="http://schemas.microsoft.com/office/powerpoint/2010/main" val="3967977084"/>
              </p:ext>
            </p:extLst>
          </p:nvPr>
        </p:nvGraphicFramePr>
        <p:xfrm>
          <a:off x="1105378" y="3364023"/>
          <a:ext cx="6694703" cy="208258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7802723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D9E6B6B1-D08A-9C85-9331-D1E3196F8E9D}"/>
              </a:ext>
            </a:extLst>
          </p:cNvPr>
          <p:cNvSpPr/>
          <p:nvPr/>
        </p:nvSpPr>
        <p:spPr>
          <a:xfrm>
            <a:off x="0" y="3645152"/>
            <a:ext cx="12192000" cy="32128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C5F93DFC-536E-41D1-A57C-8D44AA0336BF}"/>
              </a:ext>
            </a:extLst>
          </p:cNvPr>
          <p:cNvSpPr>
            <a:spLocks noGrp="1"/>
          </p:cNvSpPr>
          <p:nvPr>
            <p:ph type="title"/>
          </p:nvPr>
        </p:nvSpPr>
        <p:spPr/>
        <p:txBody>
          <a:bodyPr/>
          <a:lstStyle/>
          <a:p>
            <a:r>
              <a:rPr lang="en-US" dirty="0" err="1"/>
              <a:t>Schreiben</a:t>
            </a:r>
            <a:r>
              <a:rPr lang="en-US" dirty="0"/>
              <a:t> </a:t>
            </a:r>
            <a:r>
              <a:rPr lang="en-US" dirty="0" err="1"/>
              <a:t>mit</a:t>
            </a:r>
            <a:r>
              <a:rPr lang="en-US" dirty="0"/>
              <a:t> ChatGPT</a:t>
            </a:r>
          </a:p>
        </p:txBody>
      </p:sp>
      <p:sp>
        <p:nvSpPr>
          <p:cNvPr id="6" name="Foliennummernplatzhalter 5">
            <a:extLst>
              <a:ext uri="{FF2B5EF4-FFF2-40B4-BE49-F238E27FC236}">
                <a16:creationId xmlns:a16="http://schemas.microsoft.com/office/drawing/2014/main" id="{2462C41F-689B-26C6-A1FA-F63CF7A7D759}"/>
              </a:ext>
            </a:extLst>
          </p:cNvPr>
          <p:cNvSpPr>
            <a:spLocks noGrp="1"/>
          </p:cNvSpPr>
          <p:nvPr>
            <p:ph type="sldNum" sz="quarter" idx="12"/>
          </p:nvPr>
        </p:nvSpPr>
        <p:spPr/>
        <p:txBody>
          <a:bodyPr/>
          <a:lstStyle/>
          <a:p>
            <a:fld id="{64647E8F-5052-4581-98D0-7C32D5A45346}" type="slidenum">
              <a:rPr lang="en-US" smtClean="0"/>
              <a:pPr/>
              <a:t>38</a:t>
            </a:fld>
            <a:endParaRPr lang="en-US"/>
          </a:p>
        </p:txBody>
      </p:sp>
      <p:sp>
        <p:nvSpPr>
          <p:cNvPr id="16" name="Textfeld 15">
            <a:extLst>
              <a:ext uri="{FF2B5EF4-FFF2-40B4-BE49-F238E27FC236}">
                <a16:creationId xmlns:a16="http://schemas.microsoft.com/office/drawing/2014/main" id="{1A8E2E2C-7B1E-0610-72BC-BFF61E9A5250}"/>
              </a:ext>
            </a:extLst>
          </p:cNvPr>
          <p:cNvSpPr txBox="1"/>
          <p:nvPr/>
        </p:nvSpPr>
        <p:spPr>
          <a:xfrm>
            <a:off x="550800" y="1667836"/>
            <a:ext cx="5478068" cy="1804595"/>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vert="horz" wrap="square" lIns="90000" tIns="90000" rIns="90000" bIns="90000" rtlCol="0" anchor="ctr">
            <a:noAutofit/>
          </a:bodyPr>
          <a:lstStyle/>
          <a:p>
            <a:pPr marL="285750" indent="-285750">
              <a:buFont typeface="Arial" panose="020B0604020202020204" pitchFamily="34" charset="0"/>
              <a:buChar char="•"/>
            </a:pPr>
            <a:r>
              <a:rPr lang="de-DE" sz="1400" dirty="0" err="1">
                <a:solidFill>
                  <a:srgbClr val="40414F"/>
                </a:solidFill>
                <a:latin typeface="Söhne"/>
              </a:rPr>
              <a:t>ChatGPT</a:t>
            </a:r>
            <a:r>
              <a:rPr lang="de-DE" sz="1400" dirty="0">
                <a:solidFill>
                  <a:srgbClr val="40414F"/>
                </a:solidFill>
                <a:latin typeface="Söhne"/>
              </a:rPr>
              <a:t> kann als </a:t>
            </a:r>
            <a:r>
              <a:rPr lang="de-DE" sz="1400" b="1" dirty="0">
                <a:solidFill>
                  <a:srgbClr val="40414F"/>
                </a:solidFill>
                <a:latin typeface="Söhne"/>
              </a:rPr>
              <a:t>Schreibpartner</a:t>
            </a:r>
            <a:r>
              <a:rPr lang="de-DE" sz="1400" dirty="0">
                <a:solidFill>
                  <a:srgbClr val="40414F"/>
                </a:solidFill>
                <a:latin typeface="Söhne"/>
              </a:rPr>
              <a:t> dienen, indem es Ideen, Inhalte  und Perspektiven zu einem bestimmten Thema liefert</a:t>
            </a:r>
          </a:p>
          <a:p>
            <a:pPr marL="285750" indent="-285750" algn="l">
              <a:buFont typeface="Arial" panose="020B0604020202020204" pitchFamily="34" charset="0"/>
              <a:buChar char="•"/>
            </a:pPr>
            <a:r>
              <a:rPr lang="de-DE" sz="1400" b="0" i="0" dirty="0" err="1">
                <a:solidFill>
                  <a:srgbClr val="40414F"/>
                </a:solidFill>
                <a:effectLst/>
                <a:latin typeface="Söhne"/>
              </a:rPr>
              <a:t>ChatGPT</a:t>
            </a:r>
            <a:r>
              <a:rPr lang="de-DE" sz="1400" b="0" i="0" dirty="0">
                <a:solidFill>
                  <a:srgbClr val="40414F"/>
                </a:solidFill>
                <a:effectLst/>
                <a:latin typeface="Söhne"/>
              </a:rPr>
              <a:t> sollte nur als </a:t>
            </a:r>
            <a:r>
              <a:rPr lang="de-DE" sz="1400" b="1" i="0" dirty="0">
                <a:solidFill>
                  <a:srgbClr val="40414F"/>
                </a:solidFill>
                <a:effectLst/>
                <a:latin typeface="Söhne"/>
              </a:rPr>
              <a:t>ergänzendes Werkzeug</a:t>
            </a:r>
            <a:r>
              <a:rPr lang="de-DE" sz="1400" b="0" i="0" dirty="0">
                <a:solidFill>
                  <a:srgbClr val="40414F"/>
                </a:solidFill>
                <a:effectLst/>
                <a:latin typeface="Söhne"/>
              </a:rPr>
              <a:t> verwendet werden</a:t>
            </a:r>
          </a:p>
          <a:p>
            <a:pPr marL="285750" indent="-285750">
              <a:buFont typeface="Arial" panose="020B0604020202020204" pitchFamily="34" charset="0"/>
              <a:buChar char="•"/>
            </a:pPr>
            <a:r>
              <a:rPr lang="de-DE" sz="1400" b="0" i="0" dirty="0" err="1">
                <a:solidFill>
                  <a:srgbClr val="40414F"/>
                </a:solidFill>
                <a:effectLst/>
                <a:latin typeface="Söhne"/>
              </a:rPr>
              <a:t>ChatGPT</a:t>
            </a:r>
            <a:r>
              <a:rPr lang="de-DE" sz="1400" b="0" i="0" dirty="0">
                <a:solidFill>
                  <a:srgbClr val="40414F"/>
                </a:solidFill>
                <a:effectLst/>
                <a:latin typeface="Söhne"/>
              </a:rPr>
              <a:t> kann seine Antworten nicht überprüfen. Man sollte weiterhin eigenes </a:t>
            </a:r>
            <a:r>
              <a:rPr lang="de-DE" sz="1400" b="1" i="0" dirty="0">
                <a:solidFill>
                  <a:srgbClr val="40414F"/>
                </a:solidFill>
                <a:effectLst/>
                <a:latin typeface="Söhne"/>
              </a:rPr>
              <a:t>Wissen und Kreativität</a:t>
            </a:r>
            <a:r>
              <a:rPr lang="de-DE" sz="1400" b="0" i="0" dirty="0">
                <a:solidFill>
                  <a:srgbClr val="40414F"/>
                </a:solidFill>
                <a:effectLst/>
                <a:latin typeface="Söhne"/>
              </a:rPr>
              <a:t> einbringen</a:t>
            </a:r>
            <a:endParaRPr lang="de-DE" sz="1400" dirty="0">
              <a:solidFill>
                <a:srgbClr val="40414F"/>
              </a:solidFill>
              <a:latin typeface="Söhne"/>
            </a:endParaRPr>
          </a:p>
        </p:txBody>
      </p:sp>
      <p:sp>
        <p:nvSpPr>
          <p:cNvPr id="17" name="Rechteck: abgerundete Ecken 15">
            <a:extLst>
              <a:ext uri="{FF2B5EF4-FFF2-40B4-BE49-F238E27FC236}">
                <a16:creationId xmlns:a16="http://schemas.microsoft.com/office/drawing/2014/main" id="{9AFA46B0-70A8-712D-C638-17B8D040C9D7}"/>
              </a:ext>
            </a:extLst>
          </p:cNvPr>
          <p:cNvSpPr/>
          <p:nvPr/>
        </p:nvSpPr>
        <p:spPr bwMode="auto">
          <a:xfrm>
            <a:off x="1049409" y="1461149"/>
            <a:ext cx="3877200" cy="404743"/>
          </a:xfrm>
          <a:prstGeom prst="roundRect">
            <a:avLst/>
          </a:prstGeom>
          <a:solidFill>
            <a:schemeClr val="accent2">
              <a:lumMod val="60000"/>
              <a:lumOff val="40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1001713" fontAlgn="base">
              <a:spcBef>
                <a:spcPct val="0"/>
              </a:spcBef>
              <a:spcAft>
                <a:spcPct val="0"/>
              </a:spcAft>
            </a:pPr>
            <a:r>
              <a:rPr lang="de-DE" sz="1600" b="1">
                <a:solidFill>
                  <a:srgbClr val="40414F"/>
                </a:solidFill>
                <a:latin typeface="Trebuchet MS" pitchFamily="34" charset="0"/>
              </a:rPr>
              <a:t>Empfehlungen</a:t>
            </a:r>
          </a:p>
        </p:txBody>
      </p:sp>
      <p:sp>
        <p:nvSpPr>
          <p:cNvPr id="28" name="Textfeld 27">
            <a:extLst>
              <a:ext uri="{FF2B5EF4-FFF2-40B4-BE49-F238E27FC236}">
                <a16:creationId xmlns:a16="http://schemas.microsoft.com/office/drawing/2014/main" id="{3464A4F9-2127-7D8E-1040-538508A5589D}"/>
              </a:ext>
            </a:extLst>
          </p:cNvPr>
          <p:cNvSpPr txBox="1"/>
          <p:nvPr/>
        </p:nvSpPr>
        <p:spPr>
          <a:xfrm>
            <a:off x="1066497" y="4422174"/>
            <a:ext cx="8345873" cy="1806912"/>
          </a:xfrm>
          <a:prstGeom prst="rect">
            <a:avLst/>
          </a:prstGeom>
        </p:spPr>
        <p:txBody>
          <a:bodyPr vert="horz" wrap="square" lIns="0" tIns="0" rIns="0" bIns="0" rtlCol="0">
            <a:noAutofit/>
          </a:bodyPr>
          <a:lstStyle/>
          <a:p>
            <a:pPr marL="342900" indent="-342900">
              <a:buAutoNum type="arabicPeriod"/>
            </a:pPr>
            <a:r>
              <a:rPr lang="de-DE" sz="1400" dirty="0"/>
              <a:t>Nutzen Sie </a:t>
            </a:r>
            <a:r>
              <a:rPr lang="de-DE" sz="1400" dirty="0" err="1"/>
              <a:t>ChatGPT</a:t>
            </a:r>
            <a:r>
              <a:rPr lang="de-DE" sz="1400" dirty="0"/>
              <a:t>, um einen kurzen Aufsatz (300 Wörter) zu den Auswirkungen von Künstlicher Intelligenz auf das Geschäftsumfeld mittelständischer Unternehmen zu erstellen. </a:t>
            </a:r>
          </a:p>
          <a:p>
            <a:pPr marL="342900" indent="-342900">
              <a:buAutoNum type="arabicPeriod"/>
            </a:pPr>
            <a:r>
              <a:rPr lang="de-DE" sz="1400" dirty="0"/>
              <a:t>Lassen Sie den generierten Text für ein akademisches Publikum zielgruppengerecht umformulieren.</a:t>
            </a:r>
          </a:p>
          <a:p>
            <a:pPr marL="342900" indent="-342900">
              <a:buAutoNum type="arabicPeriod"/>
            </a:pPr>
            <a:r>
              <a:rPr lang="de-DE" sz="1400" dirty="0"/>
              <a:t>Nutzen Sie </a:t>
            </a:r>
            <a:r>
              <a:rPr lang="de-DE" sz="1400" dirty="0" err="1"/>
              <a:t>ChatGPT</a:t>
            </a:r>
            <a:r>
              <a:rPr lang="de-DE" sz="1400" dirty="0"/>
              <a:t>, um mehrere Vorschläge für Überschriften für den Aufsatz generieren zu lassen.</a:t>
            </a:r>
          </a:p>
          <a:p>
            <a:pPr marL="342900" indent="-342900">
              <a:buAutoNum type="arabicPeriod"/>
            </a:pPr>
            <a:r>
              <a:rPr lang="de-DE" sz="1400" dirty="0"/>
              <a:t>Reflektieren Sie: Wie zufrieden sind Sie mit den Ergebnissen? Wie sehr können Sie den generierten Texten und Inhalten vertrauen? </a:t>
            </a:r>
          </a:p>
          <a:p>
            <a:pPr marL="342900" indent="-342900">
              <a:buAutoNum type="arabicPeriod"/>
            </a:pPr>
            <a:endParaRPr lang="de-DE" sz="1400" dirty="0"/>
          </a:p>
          <a:p>
            <a:pPr marL="342900" indent="-342900">
              <a:buAutoNum type="arabicPeriod"/>
            </a:pPr>
            <a:endParaRPr lang="de-DE" sz="1400" dirty="0"/>
          </a:p>
        </p:txBody>
      </p:sp>
      <p:sp>
        <p:nvSpPr>
          <p:cNvPr id="29" name="Rechteck: abgerundete Ecken 11">
            <a:extLst>
              <a:ext uri="{FF2B5EF4-FFF2-40B4-BE49-F238E27FC236}">
                <a16:creationId xmlns:a16="http://schemas.microsoft.com/office/drawing/2014/main" id="{3BFCF5E3-2F9B-5C48-99D9-20C4B425D368}"/>
              </a:ext>
            </a:extLst>
          </p:cNvPr>
          <p:cNvSpPr/>
          <p:nvPr/>
        </p:nvSpPr>
        <p:spPr>
          <a:xfrm>
            <a:off x="567889" y="4235565"/>
            <a:ext cx="9399071" cy="1571915"/>
          </a:xfrm>
          <a:prstGeom prst="roundRect">
            <a:avLst/>
          </a:prstGeom>
          <a:noFill/>
          <a:ln w="28575">
            <a:solidFill>
              <a:srgbClr val="00408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de-DE"/>
          </a:p>
        </p:txBody>
      </p:sp>
      <p:sp>
        <p:nvSpPr>
          <p:cNvPr id="30" name="Textfeld 29">
            <a:extLst>
              <a:ext uri="{FF2B5EF4-FFF2-40B4-BE49-F238E27FC236}">
                <a16:creationId xmlns:a16="http://schemas.microsoft.com/office/drawing/2014/main" id="{8B9E8135-5210-7118-C6F6-B649AF0DE995}"/>
              </a:ext>
            </a:extLst>
          </p:cNvPr>
          <p:cNvSpPr txBox="1"/>
          <p:nvPr/>
        </p:nvSpPr>
        <p:spPr>
          <a:xfrm>
            <a:off x="939503" y="4066288"/>
            <a:ext cx="1539438" cy="338554"/>
          </a:xfrm>
          <a:prstGeom prst="rect">
            <a:avLst/>
          </a:prstGeom>
          <a:solidFill>
            <a:schemeClr val="bg1">
              <a:lumMod val="95000"/>
            </a:schemeClr>
          </a:solidFill>
        </p:spPr>
        <p:txBody>
          <a:bodyPr wrap="square">
            <a:spAutoFit/>
          </a:bodyPr>
          <a:lstStyle/>
          <a:p>
            <a:r>
              <a:rPr lang="de-DE" sz="1600" b="1" dirty="0">
                <a:solidFill>
                  <a:schemeClr val="tx2"/>
                </a:solidFill>
              </a:rPr>
              <a:t>Arbeitsauftrag</a:t>
            </a:r>
          </a:p>
        </p:txBody>
      </p:sp>
    </p:spTree>
    <p:extLst>
      <p:ext uri="{BB962C8B-B14F-4D97-AF65-F5344CB8AC3E}">
        <p14:creationId xmlns:p14="http://schemas.microsoft.com/office/powerpoint/2010/main" val="38559127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5C14885-12BD-C941-B325-F4511F0B9A03}"/>
              </a:ext>
            </a:extLst>
          </p:cNvPr>
          <p:cNvSpPr/>
          <p:nvPr/>
        </p:nvSpPr>
        <p:spPr>
          <a:xfrm>
            <a:off x="0" y="3644603"/>
            <a:ext cx="12192000" cy="32335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F5DBD10E-FE42-163F-07FA-DCC2915B926C}"/>
              </a:ext>
            </a:extLst>
          </p:cNvPr>
          <p:cNvSpPr>
            <a:spLocks noGrp="1"/>
          </p:cNvSpPr>
          <p:nvPr>
            <p:ph type="title"/>
          </p:nvPr>
        </p:nvSpPr>
        <p:spPr/>
        <p:txBody>
          <a:bodyPr/>
          <a:lstStyle/>
          <a:p>
            <a:r>
              <a:rPr lang="de-DE"/>
              <a:t>Zusammenfassen &amp; Kürzen</a:t>
            </a:r>
          </a:p>
        </p:txBody>
      </p:sp>
      <p:sp>
        <p:nvSpPr>
          <p:cNvPr id="6" name="Foliennummernplatzhalter 5">
            <a:extLst>
              <a:ext uri="{FF2B5EF4-FFF2-40B4-BE49-F238E27FC236}">
                <a16:creationId xmlns:a16="http://schemas.microsoft.com/office/drawing/2014/main" id="{26F08969-EDCC-2C3A-B8B4-CC42AECE0DD3}"/>
              </a:ext>
            </a:extLst>
          </p:cNvPr>
          <p:cNvSpPr>
            <a:spLocks noGrp="1"/>
          </p:cNvSpPr>
          <p:nvPr>
            <p:ph type="sldNum" sz="quarter" idx="12"/>
          </p:nvPr>
        </p:nvSpPr>
        <p:spPr/>
        <p:txBody>
          <a:bodyPr/>
          <a:lstStyle/>
          <a:p>
            <a:fld id="{64647E8F-5052-4581-98D0-7C32D5A45346}" type="slidenum">
              <a:rPr lang="en-US" smtClean="0"/>
              <a:pPr/>
              <a:t>39</a:t>
            </a:fld>
            <a:endParaRPr lang="en-US"/>
          </a:p>
        </p:txBody>
      </p:sp>
      <p:sp>
        <p:nvSpPr>
          <p:cNvPr id="15" name="Textfeld 14">
            <a:extLst>
              <a:ext uri="{FF2B5EF4-FFF2-40B4-BE49-F238E27FC236}">
                <a16:creationId xmlns:a16="http://schemas.microsoft.com/office/drawing/2014/main" id="{935ED14E-9609-C90A-18B4-DC5E723641F3}"/>
              </a:ext>
            </a:extLst>
          </p:cNvPr>
          <p:cNvSpPr txBox="1"/>
          <p:nvPr/>
        </p:nvSpPr>
        <p:spPr>
          <a:xfrm>
            <a:off x="567888" y="1631715"/>
            <a:ext cx="5758382" cy="1797285"/>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vert="horz" wrap="square" lIns="90000" tIns="90000" rIns="90000" bIns="90000" rtlCol="0" anchor="b">
            <a:noAutofit/>
          </a:bodyPr>
          <a:lstStyle/>
          <a:p>
            <a:pPr marL="285750" indent="-285750" algn="l">
              <a:buFont typeface="Arial" panose="020B0604020202020204" pitchFamily="34" charset="0"/>
              <a:buChar char="•"/>
            </a:pPr>
            <a:r>
              <a:rPr lang="de-DE" sz="1400" b="0" i="0" dirty="0">
                <a:solidFill>
                  <a:srgbClr val="40414F"/>
                </a:solidFill>
                <a:effectLst/>
                <a:latin typeface="Söhne"/>
              </a:rPr>
              <a:t>Verwendung von </a:t>
            </a:r>
            <a:r>
              <a:rPr lang="de-DE" sz="1400" b="0" i="0" dirty="0" err="1">
                <a:solidFill>
                  <a:srgbClr val="40414F"/>
                </a:solidFill>
                <a:effectLst/>
                <a:latin typeface="Söhne"/>
              </a:rPr>
              <a:t>ChatGPT</a:t>
            </a:r>
            <a:r>
              <a:rPr lang="de-DE" sz="1400" b="0" i="0" dirty="0">
                <a:solidFill>
                  <a:srgbClr val="40414F"/>
                </a:solidFill>
                <a:effectLst/>
                <a:latin typeface="Söhne"/>
              </a:rPr>
              <a:t> zur </a:t>
            </a:r>
            <a:r>
              <a:rPr lang="de-DE" sz="1400" b="1" i="0" dirty="0">
                <a:solidFill>
                  <a:srgbClr val="40414F"/>
                </a:solidFill>
                <a:effectLst/>
                <a:latin typeface="Söhne"/>
              </a:rPr>
              <a:t>Zusammenfassung von Lernmaterialien</a:t>
            </a:r>
            <a:r>
              <a:rPr lang="de-DE" sz="1400" b="0" i="0" dirty="0">
                <a:solidFill>
                  <a:srgbClr val="40414F"/>
                </a:solidFill>
                <a:effectLst/>
                <a:latin typeface="Söhne"/>
              </a:rPr>
              <a:t> und zur </a:t>
            </a:r>
            <a:r>
              <a:rPr lang="de-DE" sz="1400" b="1" i="0" dirty="0">
                <a:solidFill>
                  <a:srgbClr val="40414F"/>
                </a:solidFill>
                <a:effectLst/>
                <a:latin typeface="Söhne"/>
              </a:rPr>
              <a:t>Identifizierung wichtiger Aspekte</a:t>
            </a:r>
            <a:r>
              <a:rPr lang="de-DE" sz="1400" b="0" i="0" dirty="0">
                <a:solidFill>
                  <a:srgbClr val="40414F"/>
                </a:solidFill>
                <a:effectLst/>
                <a:latin typeface="Söhne"/>
              </a:rPr>
              <a:t>.</a:t>
            </a:r>
          </a:p>
          <a:p>
            <a:pPr marL="285750" indent="-285750" algn="l">
              <a:buFont typeface="Arial" panose="020B0604020202020204" pitchFamily="34" charset="0"/>
              <a:buChar char="•"/>
            </a:pPr>
            <a:r>
              <a:rPr lang="de-DE" sz="1400" b="0" i="0" dirty="0">
                <a:solidFill>
                  <a:srgbClr val="40414F"/>
                </a:solidFill>
                <a:effectLst/>
                <a:latin typeface="Söhne"/>
              </a:rPr>
              <a:t>Vorsicht bei der Verwendung der Zusammenfassungsfunktion, da </a:t>
            </a:r>
            <a:r>
              <a:rPr lang="de-DE" sz="1400" b="1" i="0" dirty="0">
                <a:solidFill>
                  <a:srgbClr val="40414F"/>
                </a:solidFill>
                <a:effectLst/>
                <a:latin typeface="Söhne"/>
              </a:rPr>
              <a:t>wichtige Details </a:t>
            </a:r>
            <a:r>
              <a:rPr lang="de-DE" sz="1400" b="0" i="0" dirty="0">
                <a:solidFill>
                  <a:srgbClr val="40414F"/>
                </a:solidFill>
                <a:effectLst/>
                <a:latin typeface="Söhne"/>
              </a:rPr>
              <a:t>fehlen können.</a:t>
            </a:r>
          </a:p>
          <a:p>
            <a:pPr marL="285750" indent="-285750" algn="l">
              <a:buFont typeface="Arial" panose="020B0604020202020204" pitchFamily="34" charset="0"/>
              <a:buChar char="•"/>
            </a:pPr>
            <a:r>
              <a:rPr lang="de-DE" sz="1400" b="0" i="0" dirty="0">
                <a:solidFill>
                  <a:srgbClr val="40414F"/>
                </a:solidFill>
                <a:effectLst/>
                <a:latin typeface="Söhne"/>
              </a:rPr>
              <a:t>Verwendung der </a:t>
            </a:r>
            <a:r>
              <a:rPr lang="de-DE" sz="1400" b="1" i="0" dirty="0">
                <a:solidFill>
                  <a:srgbClr val="40414F"/>
                </a:solidFill>
                <a:effectLst/>
                <a:latin typeface="Söhne"/>
              </a:rPr>
              <a:t>Browsererweiterung</a:t>
            </a:r>
            <a:r>
              <a:rPr lang="de-DE" sz="1400" b="0" i="0" dirty="0">
                <a:solidFill>
                  <a:srgbClr val="40414F"/>
                </a:solidFill>
                <a:effectLst/>
                <a:latin typeface="Söhne"/>
              </a:rPr>
              <a:t> "YouTube Summary </a:t>
            </a:r>
            <a:r>
              <a:rPr lang="de-DE" sz="1400" b="0" i="0" dirty="0" err="1">
                <a:solidFill>
                  <a:srgbClr val="40414F"/>
                </a:solidFill>
                <a:effectLst/>
                <a:latin typeface="Söhne"/>
              </a:rPr>
              <a:t>with</a:t>
            </a:r>
            <a:r>
              <a:rPr lang="de-DE" sz="1400" b="0" i="0" dirty="0">
                <a:solidFill>
                  <a:srgbClr val="40414F"/>
                </a:solidFill>
                <a:effectLst/>
                <a:latin typeface="Söhne"/>
              </a:rPr>
              <a:t> </a:t>
            </a:r>
            <a:r>
              <a:rPr lang="de-DE" sz="1400" b="0" i="0" dirty="0" err="1">
                <a:solidFill>
                  <a:srgbClr val="40414F"/>
                </a:solidFill>
                <a:effectLst/>
                <a:latin typeface="Söhne"/>
              </a:rPr>
              <a:t>ChatGPT</a:t>
            </a:r>
            <a:r>
              <a:rPr lang="de-DE" sz="1400" b="0" i="0" dirty="0">
                <a:solidFill>
                  <a:srgbClr val="40414F"/>
                </a:solidFill>
                <a:effectLst/>
                <a:latin typeface="Söhne"/>
              </a:rPr>
              <a:t>" zur Zusammenfassung von YouTube-Videos.</a:t>
            </a:r>
          </a:p>
        </p:txBody>
      </p:sp>
      <p:sp>
        <p:nvSpPr>
          <p:cNvPr id="16" name="Rechteck: abgerundete Ecken 15">
            <a:extLst>
              <a:ext uri="{FF2B5EF4-FFF2-40B4-BE49-F238E27FC236}">
                <a16:creationId xmlns:a16="http://schemas.microsoft.com/office/drawing/2014/main" id="{A2F98831-C52A-8C3C-6407-28774DBC20A3}"/>
              </a:ext>
            </a:extLst>
          </p:cNvPr>
          <p:cNvSpPr/>
          <p:nvPr/>
        </p:nvSpPr>
        <p:spPr bwMode="auto">
          <a:xfrm>
            <a:off x="1066497" y="1449388"/>
            <a:ext cx="3877200" cy="404743"/>
          </a:xfrm>
          <a:prstGeom prst="roundRect">
            <a:avLst/>
          </a:prstGeom>
          <a:solidFill>
            <a:schemeClr val="accent2">
              <a:lumMod val="7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1001713" fontAlgn="base">
              <a:spcBef>
                <a:spcPct val="0"/>
              </a:spcBef>
              <a:spcAft>
                <a:spcPct val="0"/>
              </a:spcAft>
            </a:pPr>
            <a:r>
              <a:rPr lang="de-DE" sz="1600" b="1">
                <a:solidFill>
                  <a:schemeClr val="bg1"/>
                </a:solidFill>
                <a:latin typeface="Trebuchet MS" pitchFamily="34" charset="0"/>
              </a:rPr>
              <a:t>Empfehlungen</a:t>
            </a:r>
          </a:p>
        </p:txBody>
      </p:sp>
      <p:sp>
        <p:nvSpPr>
          <p:cNvPr id="23" name="Rechteck: abgerundete Ecken 11">
            <a:extLst>
              <a:ext uri="{FF2B5EF4-FFF2-40B4-BE49-F238E27FC236}">
                <a16:creationId xmlns:a16="http://schemas.microsoft.com/office/drawing/2014/main" id="{CF524295-51E0-4736-91AD-3A8E5F8F9B3C}"/>
              </a:ext>
            </a:extLst>
          </p:cNvPr>
          <p:cNvSpPr/>
          <p:nvPr/>
        </p:nvSpPr>
        <p:spPr>
          <a:xfrm>
            <a:off x="567889" y="4235565"/>
            <a:ext cx="9399071" cy="1571915"/>
          </a:xfrm>
          <a:prstGeom prst="roundRect">
            <a:avLst/>
          </a:prstGeom>
          <a:noFill/>
          <a:ln w="28575">
            <a:solidFill>
              <a:srgbClr val="00408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de-DE"/>
          </a:p>
        </p:txBody>
      </p:sp>
      <p:sp>
        <p:nvSpPr>
          <p:cNvPr id="24" name="Textfeld 23">
            <a:extLst>
              <a:ext uri="{FF2B5EF4-FFF2-40B4-BE49-F238E27FC236}">
                <a16:creationId xmlns:a16="http://schemas.microsoft.com/office/drawing/2014/main" id="{A5AC7B05-980F-4182-A20A-18B2F08EF289}"/>
              </a:ext>
            </a:extLst>
          </p:cNvPr>
          <p:cNvSpPr txBox="1"/>
          <p:nvPr/>
        </p:nvSpPr>
        <p:spPr>
          <a:xfrm>
            <a:off x="939503" y="4066288"/>
            <a:ext cx="1539438" cy="338554"/>
          </a:xfrm>
          <a:prstGeom prst="rect">
            <a:avLst/>
          </a:prstGeom>
          <a:solidFill>
            <a:schemeClr val="bg1">
              <a:lumMod val="95000"/>
            </a:schemeClr>
          </a:solidFill>
        </p:spPr>
        <p:txBody>
          <a:bodyPr wrap="square">
            <a:spAutoFit/>
          </a:bodyPr>
          <a:lstStyle/>
          <a:p>
            <a:r>
              <a:rPr lang="de-DE" sz="1600" b="1" dirty="0">
                <a:solidFill>
                  <a:schemeClr val="tx2"/>
                </a:solidFill>
              </a:rPr>
              <a:t>Arbeitsauftrag</a:t>
            </a:r>
          </a:p>
        </p:txBody>
      </p:sp>
      <p:sp>
        <p:nvSpPr>
          <p:cNvPr id="27" name="Textfeld 26">
            <a:extLst>
              <a:ext uri="{FF2B5EF4-FFF2-40B4-BE49-F238E27FC236}">
                <a16:creationId xmlns:a16="http://schemas.microsoft.com/office/drawing/2014/main" id="{9193626E-878B-16C6-51F8-90630129DB0C}"/>
              </a:ext>
            </a:extLst>
          </p:cNvPr>
          <p:cNvSpPr txBox="1"/>
          <p:nvPr/>
        </p:nvSpPr>
        <p:spPr>
          <a:xfrm>
            <a:off x="1004267" y="4453360"/>
            <a:ext cx="8345873" cy="1806912"/>
          </a:xfrm>
          <a:prstGeom prst="rect">
            <a:avLst/>
          </a:prstGeom>
        </p:spPr>
        <p:txBody>
          <a:bodyPr vert="horz" wrap="square" lIns="0" tIns="0" rIns="0" bIns="0" rtlCol="0">
            <a:noAutofit/>
          </a:bodyPr>
          <a:lstStyle/>
          <a:p>
            <a:pPr marL="342900" indent="-342900">
              <a:buAutoNum type="arabicPeriod"/>
            </a:pPr>
            <a:r>
              <a:rPr lang="de-DE" sz="1400" dirty="0"/>
              <a:t>Suchen Sie nach einem (wissenschaftlichen) Text oder Artikel, der Sie interessiert. </a:t>
            </a:r>
          </a:p>
          <a:p>
            <a:pPr marL="342900" indent="-342900">
              <a:buAutoNum type="arabicPeriod"/>
            </a:pPr>
            <a:r>
              <a:rPr lang="de-DE" sz="1400" dirty="0"/>
              <a:t>Lassen Sie den Text von </a:t>
            </a:r>
            <a:r>
              <a:rPr lang="de-DE" sz="1400" dirty="0" err="1"/>
              <a:t>ChatGPT</a:t>
            </a:r>
            <a:r>
              <a:rPr lang="de-DE" sz="1400" dirty="0"/>
              <a:t> zusammenfassen, sodass Sie einen Kurzvortrag zum Thema halten könnten.</a:t>
            </a:r>
          </a:p>
          <a:p>
            <a:pPr marL="342900" indent="-342900">
              <a:buAutoNum type="arabicPeriod"/>
            </a:pPr>
            <a:r>
              <a:rPr lang="de-DE" sz="1400" dirty="0"/>
              <a:t>Nutzen Sie unterschiedliche Prompts und schauen Sie wie sich das Ergebnis verändert.</a:t>
            </a:r>
          </a:p>
          <a:p>
            <a:pPr marL="342900" indent="-342900">
              <a:buAutoNum type="arabicPeriod"/>
            </a:pPr>
            <a:r>
              <a:rPr lang="de-DE" sz="1400" dirty="0"/>
              <a:t>Lesen Sie ihren Originaltext und bewerten Sie die Ergebnisse von </a:t>
            </a:r>
            <a:r>
              <a:rPr lang="de-DE" sz="1400" dirty="0" err="1"/>
              <a:t>ChatGPT</a:t>
            </a:r>
            <a:r>
              <a:rPr lang="de-DE" sz="1400" dirty="0"/>
              <a:t>. </a:t>
            </a:r>
          </a:p>
        </p:txBody>
      </p:sp>
    </p:spTree>
    <p:extLst>
      <p:ext uri="{BB962C8B-B14F-4D97-AF65-F5344CB8AC3E}">
        <p14:creationId xmlns:p14="http://schemas.microsoft.com/office/powerpoint/2010/main" val="3507677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nhaltsplatzhalter 8">
            <a:extLst>
              <a:ext uri="{FF2B5EF4-FFF2-40B4-BE49-F238E27FC236}">
                <a16:creationId xmlns:a16="http://schemas.microsoft.com/office/drawing/2014/main" id="{4DC21AAD-BBF5-A4C3-61C7-76C1852967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57600" y="1905000"/>
            <a:ext cx="1470750" cy="4320000"/>
          </a:xfrm>
          <a:prstGeom prst="rect">
            <a:avLst/>
          </a:prstGeom>
        </p:spPr>
      </p:pic>
      <p:sp>
        <p:nvSpPr>
          <p:cNvPr id="2" name="Titel 1">
            <a:extLst>
              <a:ext uri="{FF2B5EF4-FFF2-40B4-BE49-F238E27FC236}">
                <a16:creationId xmlns:a16="http://schemas.microsoft.com/office/drawing/2014/main" id="{6AE81544-0718-AFB4-EFB5-D8BEBAB1D8C5}"/>
              </a:ext>
            </a:extLst>
          </p:cNvPr>
          <p:cNvSpPr>
            <a:spLocks noGrp="1"/>
          </p:cNvSpPr>
          <p:nvPr>
            <p:ph type="title"/>
          </p:nvPr>
        </p:nvSpPr>
        <p:spPr/>
        <p:txBody>
          <a:bodyPr/>
          <a:lstStyle/>
          <a:p>
            <a:r>
              <a:rPr lang="de-DE" dirty="0"/>
              <a:t>Forschung Generative KI</a:t>
            </a:r>
          </a:p>
        </p:txBody>
      </p:sp>
      <p:sp>
        <p:nvSpPr>
          <p:cNvPr id="3" name="Textplatzhalter 2">
            <a:extLst>
              <a:ext uri="{FF2B5EF4-FFF2-40B4-BE49-F238E27FC236}">
                <a16:creationId xmlns:a16="http://schemas.microsoft.com/office/drawing/2014/main" id="{DC2A5DEB-ACBC-BDFA-2DA6-F1608C1590A8}"/>
              </a:ext>
            </a:extLst>
          </p:cNvPr>
          <p:cNvSpPr>
            <a:spLocks noGrp="1"/>
          </p:cNvSpPr>
          <p:nvPr>
            <p:ph type="body" idx="1"/>
          </p:nvPr>
        </p:nvSpPr>
        <p:spPr>
          <a:xfrm>
            <a:off x="287859" y="1483803"/>
            <a:ext cx="5935817" cy="523220"/>
          </a:xfrm>
        </p:spPr>
        <p:txBody>
          <a:bodyPr/>
          <a:lstStyle/>
          <a:p>
            <a:r>
              <a:rPr lang="de-DE" dirty="0"/>
              <a:t>Generative KI unterstützt Process Mining</a:t>
            </a:r>
          </a:p>
          <a:p>
            <a:r>
              <a:rPr lang="de-DE" sz="1600" dirty="0"/>
              <a:t>(z.B. Auflösen von homonymen und </a:t>
            </a:r>
            <a:r>
              <a:rPr lang="de-DE" sz="1600" dirty="0" err="1"/>
              <a:t>synon</a:t>
            </a:r>
            <a:r>
              <a:rPr lang="de-DE" sz="1600" dirty="0"/>
              <a:t>. Aktivitätsnamen)</a:t>
            </a:r>
          </a:p>
        </p:txBody>
      </p:sp>
      <p:sp>
        <p:nvSpPr>
          <p:cNvPr id="4" name="Foliennummernplatzhalter 3">
            <a:extLst>
              <a:ext uri="{FF2B5EF4-FFF2-40B4-BE49-F238E27FC236}">
                <a16:creationId xmlns:a16="http://schemas.microsoft.com/office/drawing/2014/main" id="{1236F57A-150C-5CC1-0B6D-59D6591361E0}"/>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4</a:t>
            </a:fld>
            <a:r>
              <a:rPr lang="de-DE" spc="-10" dirty="0"/>
              <a:t> • </a:t>
            </a:r>
            <a:r>
              <a:rPr lang="de-DE" spc="-5" dirty="0"/>
              <a:t>Prof. </a:t>
            </a:r>
            <a:r>
              <a:rPr lang="de-DE" spc="-10" dirty="0"/>
              <a:t>Dr. Agnes Koschmider • Generative KI</a:t>
            </a:r>
          </a:p>
        </p:txBody>
      </p:sp>
      <p:sp>
        <p:nvSpPr>
          <p:cNvPr id="5" name="Fußzeilenplatzhalter 4">
            <a:extLst>
              <a:ext uri="{FF2B5EF4-FFF2-40B4-BE49-F238E27FC236}">
                <a16:creationId xmlns:a16="http://schemas.microsoft.com/office/drawing/2014/main" id="{0F68270B-CFC8-1756-851F-37822CF6A99C}"/>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pic>
        <p:nvPicPr>
          <p:cNvPr id="7" name="Grafik 6">
            <a:extLst>
              <a:ext uri="{FF2B5EF4-FFF2-40B4-BE49-F238E27FC236}">
                <a16:creationId xmlns:a16="http://schemas.microsoft.com/office/drawing/2014/main" id="{5020767C-6081-0A71-39E5-727D45E609C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091" y="2511767"/>
            <a:ext cx="3713709" cy="2743200"/>
          </a:xfrm>
          <a:prstGeom prst="rect">
            <a:avLst/>
          </a:prstGeom>
        </p:spPr>
      </p:pic>
      <p:sp>
        <p:nvSpPr>
          <p:cNvPr id="15" name="Textfeld 14">
            <a:extLst>
              <a:ext uri="{FF2B5EF4-FFF2-40B4-BE49-F238E27FC236}">
                <a16:creationId xmlns:a16="http://schemas.microsoft.com/office/drawing/2014/main" id="{D7CFF0AF-F9B2-83DC-40A2-C6D07D023511}"/>
              </a:ext>
            </a:extLst>
          </p:cNvPr>
          <p:cNvSpPr txBox="1"/>
          <p:nvPr/>
        </p:nvSpPr>
        <p:spPr>
          <a:xfrm>
            <a:off x="191445" y="5791200"/>
            <a:ext cx="1292341" cy="246221"/>
          </a:xfrm>
          <a:prstGeom prst="rect">
            <a:avLst/>
          </a:prstGeom>
          <a:noFill/>
        </p:spPr>
        <p:txBody>
          <a:bodyPr wrap="none" rtlCol="0">
            <a:spAutoFit/>
          </a:bodyPr>
          <a:lstStyle/>
          <a:p>
            <a:r>
              <a:rPr lang="en-US" sz="1000" b="0" i="0" u="none" strike="noStrike" baseline="0" dirty="0">
                <a:solidFill>
                  <a:schemeClr val="bg1">
                    <a:lumMod val="50000"/>
                  </a:schemeClr>
                </a:solidFill>
                <a:latin typeface="Times New Roman" panose="02020603050405020304" pitchFamily="18" charset="0"/>
              </a:rPr>
              <a:t>Quelle: </a:t>
            </a:r>
            <a:r>
              <a:rPr lang="en-US" sz="1000" b="0" i="0" u="none" strike="noStrike" baseline="0" dirty="0" err="1">
                <a:solidFill>
                  <a:schemeClr val="bg1">
                    <a:lumMod val="50000"/>
                  </a:schemeClr>
                </a:solidFill>
                <a:latin typeface="Times New Roman" panose="02020603050405020304" pitchFamily="18" charset="0"/>
              </a:rPr>
              <a:t>Eigene</a:t>
            </a:r>
            <a:r>
              <a:rPr lang="en-US" sz="1000" b="0" i="0" u="none" strike="noStrike" baseline="0" dirty="0">
                <a:solidFill>
                  <a:schemeClr val="bg1">
                    <a:lumMod val="50000"/>
                  </a:schemeClr>
                </a:solidFill>
                <a:latin typeface="Times New Roman" panose="02020603050405020304" pitchFamily="18" charset="0"/>
              </a:rPr>
              <a:t> </a:t>
            </a:r>
            <a:r>
              <a:rPr lang="en-US" sz="1000" b="0" i="0" u="none" strike="noStrike" baseline="0" dirty="0" err="1">
                <a:solidFill>
                  <a:schemeClr val="bg1">
                    <a:lumMod val="50000"/>
                  </a:schemeClr>
                </a:solidFill>
                <a:latin typeface="Times New Roman" panose="02020603050405020304" pitchFamily="18" charset="0"/>
              </a:rPr>
              <a:t>Daten</a:t>
            </a:r>
            <a:endParaRPr lang="de-DE" sz="1000" dirty="0">
              <a:solidFill>
                <a:schemeClr val="bg1">
                  <a:lumMod val="50000"/>
                </a:schemeClr>
              </a:solidFill>
            </a:endParaRPr>
          </a:p>
        </p:txBody>
      </p:sp>
      <p:sp>
        <p:nvSpPr>
          <p:cNvPr id="16" name="Pfeil: nach rechts 15">
            <a:extLst>
              <a:ext uri="{FF2B5EF4-FFF2-40B4-BE49-F238E27FC236}">
                <a16:creationId xmlns:a16="http://schemas.microsoft.com/office/drawing/2014/main" id="{DD5E2432-F8CC-C9B6-7067-E9984D3B4997}"/>
              </a:ext>
            </a:extLst>
          </p:cNvPr>
          <p:cNvSpPr/>
          <p:nvPr/>
        </p:nvSpPr>
        <p:spPr>
          <a:xfrm>
            <a:off x="3581400" y="3553915"/>
            <a:ext cx="639635" cy="294334"/>
          </a:xfrm>
          <a:prstGeom prst="rightArrow">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Textplatzhalter 2">
            <a:extLst>
              <a:ext uri="{FF2B5EF4-FFF2-40B4-BE49-F238E27FC236}">
                <a16:creationId xmlns:a16="http://schemas.microsoft.com/office/drawing/2014/main" id="{08F81BD2-6183-0FA8-AC13-BCE9537B5C61}"/>
              </a:ext>
            </a:extLst>
          </p:cNvPr>
          <p:cNvSpPr txBox="1">
            <a:spLocks/>
          </p:cNvSpPr>
          <p:nvPr/>
        </p:nvSpPr>
        <p:spPr>
          <a:xfrm>
            <a:off x="5968324" y="1483803"/>
            <a:ext cx="5935817" cy="523220"/>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12">
              <a:defRPr>
                <a:latin typeface="+mn-lt"/>
                <a:ea typeface="+mn-ea"/>
                <a:cs typeface="+mn-cs"/>
              </a:defRPr>
            </a:lvl2pPr>
            <a:lvl3pPr marL="914423">
              <a:defRPr>
                <a:latin typeface="+mn-lt"/>
                <a:ea typeface="+mn-ea"/>
                <a:cs typeface="+mn-cs"/>
              </a:defRPr>
            </a:lvl3pPr>
            <a:lvl4pPr marL="1371634">
              <a:defRPr>
                <a:latin typeface="+mn-lt"/>
                <a:ea typeface="+mn-ea"/>
                <a:cs typeface="+mn-cs"/>
              </a:defRPr>
            </a:lvl4pPr>
            <a:lvl5pPr marL="1828846">
              <a:defRPr>
                <a:latin typeface="+mn-lt"/>
                <a:ea typeface="+mn-ea"/>
                <a:cs typeface="+mn-cs"/>
              </a:defRPr>
            </a:lvl5pPr>
            <a:lvl6pPr marL="2286057">
              <a:defRPr>
                <a:latin typeface="+mn-lt"/>
                <a:ea typeface="+mn-ea"/>
                <a:cs typeface="+mn-cs"/>
              </a:defRPr>
            </a:lvl6pPr>
            <a:lvl7pPr marL="2743269">
              <a:defRPr>
                <a:latin typeface="+mn-lt"/>
                <a:ea typeface="+mn-ea"/>
                <a:cs typeface="+mn-cs"/>
              </a:defRPr>
            </a:lvl7pPr>
            <a:lvl8pPr marL="3200480">
              <a:defRPr>
                <a:latin typeface="+mn-lt"/>
                <a:ea typeface="+mn-ea"/>
                <a:cs typeface="+mn-cs"/>
              </a:defRPr>
            </a:lvl8pPr>
            <a:lvl9pPr marL="3657691">
              <a:defRPr>
                <a:latin typeface="+mn-lt"/>
                <a:ea typeface="+mn-ea"/>
                <a:cs typeface="+mn-cs"/>
              </a:defRPr>
            </a:lvl9pPr>
          </a:lstStyle>
          <a:p>
            <a:r>
              <a:rPr lang="de-DE" kern="0" dirty="0"/>
              <a:t>Generative KI unterstützt Process Mining</a:t>
            </a:r>
          </a:p>
          <a:p>
            <a:r>
              <a:rPr lang="de-DE" sz="1600" kern="0" dirty="0"/>
              <a:t>(z.B. durch das generieren synthetischer Ereignisprotokolle)</a:t>
            </a:r>
          </a:p>
        </p:txBody>
      </p:sp>
      <p:sp>
        <p:nvSpPr>
          <p:cNvPr id="18" name="Rechteck: abgerundete Ecken 17">
            <a:extLst>
              <a:ext uri="{FF2B5EF4-FFF2-40B4-BE49-F238E27FC236}">
                <a16:creationId xmlns:a16="http://schemas.microsoft.com/office/drawing/2014/main" id="{BA77A3CA-D93D-7A82-6F6E-09E36B485759}"/>
              </a:ext>
            </a:extLst>
          </p:cNvPr>
          <p:cNvSpPr/>
          <p:nvPr/>
        </p:nvSpPr>
        <p:spPr>
          <a:xfrm>
            <a:off x="6223676" y="2286000"/>
            <a:ext cx="2880000" cy="360000"/>
          </a:xfrm>
          <a:prstGeom prst="roundRect">
            <a:avLst/>
          </a:prstGeom>
          <a:solidFill>
            <a:srgbClr val="00A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Large Language Model</a:t>
            </a:r>
          </a:p>
        </p:txBody>
      </p:sp>
      <p:sp>
        <p:nvSpPr>
          <p:cNvPr id="19" name="Rechteck: abgerundete Ecken 18">
            <a:extLst>
              <a:ext uri="{FF2B5EF4-FFF2-40B4-BE49-F238E27FC236}">
                <a16:creationId xmlns:a16="http://schemas.microsoft.com/office/drawing/2014/main" id="{5B1BAB9C-9B54-C73E-6034-6D2C139CC0E6}"/>
              </a:ext>
            </a:extLst>
          </p:cNvPr>
          <p:cNvSpPr/>
          <p:nvPr/>
        </p:nvSpPr>
        <p:spPr>
          <a:xfrm>
            <a:off x="6245680" y="3416262"/>
            <a:ext cx="2880000" cy="360000"/>
          </a:xfrm>
          <a:prstGeom prst="roundRect">
            <a:avLst/>
          </a:prstGeom>
          <a:solidFill>
            <a:srgbClr val="00A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Process Mining - LLM</a:t>
            </a:r>
          </a:p>
        </p:txBody>
      </p:sp>
      <p:cxnSp>
        <p:nvCxnSpPr>
          <p:cNvPr id="21" name="Gerade Verbindung mit Pfeil 20">
            <a:extLst>
              <a:ext uri="{FF2B5EF4-FFF2-40B4-BE49-F238E27FC236}">
                <a16:creationId xmlns:a16="http://schemas.microsoft.com/office/drawing/2014/main" id="{801CD738-0982-5EA0-FAFC-6812FBC65E01}"/>
              </a:ext>
            </a:extLst>
          </p:cNvPr>
          <p:cNvCxnSpPr/>
          <p:nvPr/>
        </p:nvCxnSpPr>
        <p:spPr>
          <a:xfrm>
            <a:off x="6705600" y="2761131"/>
            <a:ext cx="0" cy="540000"/>
          </a:xfrm>
          <a:prstGeom prst="straightConnector1">
            <a:avLst/>
          </a:prstGeom>
          <a:ln w="57150">
            <a:solidFill>
              <a:srgbClr val="03895E"/>
            </a:solidFill>
            <a:tailEnd type="triangle"/>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1A3144DB-D1EF-B144-1BFE-99359ACC4B6C}"/>
              </a:ext>
            </a:extLst>
          </p:cNvPr>
          <p:cNvSpPr txBox="1"/>
          <p:nvPr/>
        </p:nvSpPr>
        <p:spPr>
          <a:xfrm>
            <a:off x="6781800" y="2823586"/>
            <a:ext cx="4508094" cy="369332"/>
          </a:xfrm>
          <a:prstGeom prst="rect">
            <a:avLst/>
          </a:prstGeom>
          <a:noFill/>
        </p:spPr>
        <p:txBody>
          <a:bodyPr wrap="none" rtlCol="0">
            <a:spAutoFit/>
          </a:bodyPr>
          <a:lstStyle/>
          <a:p>
            <a:r>
              <a:rPr lang="de-DE" dirty="0"/>
              <a:t>Fine-tuning auf Domänenwissen und -formate</a:t>
            </a:r>
          </a:p>
        </p:txBody>
      </p:sp>
      <p:sp>
        <p:nvSpPr>
          <p:cNvPr id="23" name="Rechteck: abgerundete Ecken 22">
            <a:extLst>
              <a:ext uri="{FF2B5EF4-FFF2-40B4-BE49-F238E27FC236}">
                <a16:creationId xmlns:a16="http://schemas.microsoft.com/office/drawing/2014/main" id="{F5EDB802-65E6-36F4-0594-5DA4D447FDDB}"/>
              </a:ext>
            </a:extLst>
          </p:cNvPr>
          <p:cNvSpPr/>
          <p:nvPr/>
        </p:nvSpPr>
        <p:spPr>
          <a:xfrm>
            <a:off x="6245680" y="4546524"/>
            <a:ext cx="2880000" cy="360000"/>
          </a:xfrm>
          <a:prstGeom prst="roundRect">
            <a:avLst/>
          </a:prstGeom>
          <a:solidFill>
            <a:srgbClr val="00A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Interne Repräsentation</a:t>
            </a:r>
          </a:p>
        </p:txBody>
      </p:sp>
      <p:cxnSp>
        <p:nvCxnSpPr>
          <p:cNvPr id="24" name="Gerade Verbindung mit Pfeil 23">
            <a:extLst>
              <a:ext uri="{FF2B5EF4-FFF2-40B4-BE49-F238E27FC236}">
                <a16:creationId xmlns:a16="http://schemas.microsoft.com/office/drawing/2014/main" id="{6E52F208-E9C6-396A-5C0D-5182CE3733E8}"/>
              </a:ext>
            </a:extLst>
          </p:cNvPr>
          <p:cNvCxnSpPr/>
          <p:nvPr/>
        </p:nvCxnSpPr>
        <p:spPr>
          <a:xfrm>
            <a:off x="6705600" y="3904131"/>
            <a:ext cx="0" cy="540000"/>
          </a:xfrm>
          <a:prstGeom prst="straightConnector1">
            <a:avLst/>
          </a:prstGeom>
          <a:ln w="57150">
            <a:solidFill>
              <a:srgbClr val="03895E"/>
            </a:solidFill>
            <a:tailEnd type="triangle"/>
          </a:ln>
        </p:spPr>
        <p:style>
          <a:lnRef idx="1">
            <a:schemeClr val="accent1"/>
          </a:lnRef>
          <a:fillRef idx="0">
            <a:schemeClr val="accent1"/>
          </a:fillRef>
          <a:effectRef idx="0">
            <a:schemeClr val="accent1"/>
          </a:effectRef>
          <a:fontRef idx="minor">
            <a:schemeClr val="tx1"/>
          </a:fontRef>
        </p:style>
      </p:cxnSp>
      <p:sp>
        <p:nvSpPr>
          <p:cNvPr id="25" name="Textfeld 24">
            <a:extLst>
              <a:ext uri="{FF2B5EF4-FFF2-40B4-BE49-F238E27FC236}">
                <a16:creationId xmlns:a16="http://schemas.microsoft.com/office/drawing/2014/main" id="{A4EF0776-BF45-5F78-B28B-7C5A373D63E6}"/>
              </a:ext>
            </a:extLst>
          </p:cNvPr>
          <p:cNvSpPr txBox="1"/>
          <p:nvPr/>
        </p:nvSpPr>
        <p:spPr>
          <a:xfrm>
            <a:off x="6781800" y="3989465"/>
            <a:ext cx="2307427" cy="369332"/>
          </a:xfrm>
          <a:prstGeom prst="rect">
            <a:avLst/>
          </a:prstGeom>
          <a:noFill/>
        </p:spPr>
        <p:txBody>
          <a:bodyPr wrap="none" rtlCol="0">
            <a:spAutoFit/>
          </a:bodyPr>
          <a:lstStyle/>
          <a:p>
            <a:r>
              <a:rPr lang="de-DE" dirty="0"/>
              <a:t>lernt Ereignisprotokoll</a:t>
            </a:r>
          </a:p>
        </p:txBody>
      </p:sp>
      <p:sp>
        <p:nvSpPr>
          <p:cNvPr id="26" name="Rechteck: abgerundete Ecken 25">
            <a:extLst>
              <a:ext uri="{FF2B5EF4-FFF2-40B4-BE49-F238E27FC236}">
                <a16:creationId xmlns:a16="http://schemas.microsoft.com/office/drawing/2014/main" id="{C9AD591F-FC7A-BC7E-EFF1-5138B377D9D9}"/>
              </a:ext>
            </a:extLst>
          </p:cNvPr>
          <p:cNvSpPr/>
          <p:nvPr/>
        </p:nvSpPr>
        <p:spPr>
          <a:xfrm>
            <a:off x="6245680" y="5676786"/>
            <a:ext cx="2880000" cy="647814"/>
          </a:xfrm>
          <a:prstGeom prst="roundRect">
            <a:avLst/>
          </a:prstGeom>
          <a:solidFill>
            <a:srgbClr val="00A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Synthethisches</a:t>
            </a:r>
            <a:r>
              <a:rPr lang="de-DE" dirty="0"/>
              <a:t> Ereignisprotokoll</a:t>
            </a:r>
          </a:p>
        </p:txBody>
      </p:sp>
      <p:cxnSp>
        <p:nvCxnSpPr>
          <p:cNvPr id="27" name="Gerade Verbindung mit Pfeil 26">
            <a:extLst>
              <a:ext uri="{FF2B5EF4-FFF2-40B4-BE49-F238E27FC236}">
                <a16:creationId xmlns:a16="http://schemas.microsoft.com/office/drawing/2014/main" id="{26584EA8-D8AB-AB53-AABD-F7A46D6167CB}"/>
              </a:ext>
            </a:extLst>
          </p:cNvPr>
          <p:cNvCxnSpPr/>
          <p:nvPr/>
        </p:nvCxnSpPr>
        <p:spPr>
          <a:xfrm>
            <a:off x="6705600" y="5047131"/>
            <a:ext cx="0" cy="540000"/>
          </a:xfrm>
          <a:prstGeom prst="straightConnector1">
            <a:avLst/>
          </a:prstGeom>
          <a:ln w="57150">
            <a:solidFill>
              <a:srgbClr val="03895E"/>
            </a:solidFill>
            <a:tailEnd type="triangle"/>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545F3345-BC41-4190-CB4A-824486DF18BA}"/>
              </a:ext>
            </a:extLst>
          </p:cNvPr>
          <p:cNvSpPr txBox="1"/>
          <p:nvPr/>
        </p:nvSpPr>
        <p:spPr>
          <a:xfrm>
            <a:off x="6781800" y="5040868"/>
            <a:ext cx="1665712" cy="369332"/>
          </a:xfrm>
          <a:prstGeom prst="rect">
            <a:avLst/>
          </a:prstGeom>
          <a:noFill/>
        </p:spPr>
        <p:txBody>
          <a:bodyPr wrap="none" rtlCol="0">
            <a:spAutoFit/>
          </a:bodyPr>
          <a:lstStyle/>
          <a:p>
            <a:r>
              <a:rPr lang="de-DE" dirty="0"/>
              <a:t>generiert Daten</a:t>
            </a:r>
          </a:p>
        </p:txBody>
      </p:sp>
    </p:spTree>
    <p:extLst>
      <p:ext uri="{BB962C8B-B14F-4D97-AF65-F5344CB8AC3E}">
        <p14:creationId xmlns:p14="http://schemas.microsoft.com/office/powerpoint/2010/main" val="11273297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34B70-C3FB-3A2A-754C-08FD1301A828}"/>
              </a:ext>
            </a:extLst>
          </p:cNvPr>
          <p:cNvSpPr>
            <a:spLocks noGrp="1"/>
          </p:cNvSpPr>
          <p:nvPr>
            <p:ph type="title"/>
          </p:nvPr>
        </p:nvSpPr>
        <p:spPr/>
        <p:txBody>
          <a:bodyPr>
            <a:normAutofit/>
          </a:bodyPr>
          <a:lstStyle/>
          <a:p>
            <a:r>
              <a:rPr lang="de-DE"/>
              <a:t>Key Takeaways für das erfolgreiche Arbeiten mit </a:t>
            </a:r>
            <a:r>
              <a:rPr lang="de-DE" err="1"/>
              <a:t>ChatGPT</a:t>
            </a:r>
            <a:endParaRPr lang="de-DE"/>
          </a:p>
        </p:txBody>
      </p:sp>
      <p:sp>
        <p:nvSpPr>
          <p:cNvPr id="67" name="Inhaltsplatzhalter 66">
            <a:extLst>
              <a:ext uri="{FF2B5EF4-FFF2-40B4-BE49-F238E27FC236}">
                <a16:creationId xmlns:a16="http://schemas.microsoft.com/office/drawing/2014/main" id="{3AA1C174-7EFA-74C3-C61E-47A75AD91ED3}"/>
              </a:ext>
            </a:extLst>
          </p:cNvPr>
          <p:cNvSpPr>
            <a:spLocks noGrp="1"/>
          </p:cNvSpPr>
          <p:nvPr>
            <p:ph sz="quarter" idx="17"/>
          </p:nvPr>
        </p:nvSpPr>
        <p:spPr/>
        <p:txBody>
          <a:bodyPr/>
          <a:lstStyle/>
          <a:p>
            <a:endParaRPr lang="en-US"/>
          </a:p>
        </p:txBody>
      </p:sp>
      <p:grpSp>
        <p:nvGrpSpPr>
          <p:cNvPr id="4" name="Group 3">
            <a:extLst>
              <a:ext uri="{FF2B5EF4-FFF2-40B4-BE49-F238E27FC236}">
                <a16:creationId xmlns:a16="http://schemas.microsoft.com/office/drawing/2014/main" id="{14CA3CF1-93DE-6E7D-C244-CB1A4D19836C}"/>
              </a:ext>
            </a:extLst>
          </p:cNvPr>
          <p:cNvGrpSpPr/>
          <p:nvPr/>
        </p:nvGrpSpPr>
        <p:grpSpPr>
          <a:xfrm>
            <a:off x="5374207" y="1712749"/>
            <a:ext cx="6420844" cy="1104957"/>
            <a:chOff x="5374207" y="1712749"/>
            <a:chExt cx="6122468" cy="1104957"/>
          </a:xfrm>
        </p:grpSpPr>
        <p:grpSp>
          <p:nvGrpSpPr>
            <p:cNvPr id="5" name="Group 4">
              <a:extLst>
                <a:ext uri="{FF2B5EF4-FFF2-40B4-BE49-F238E27FC236}">
                  <a16:creationId xmlns:a16="http://schemas.microsoft.com/office/drawing/2014/main" id="{B9238B7E-4E05-986F-EF79-DD242EF06565}"/>
                </a:ext>
              </a:extLst>
            </p:cNvPr>
            <p:cNvGrpSpPr/>
            <p:nvPr/>
          </p:nvGrpSpPr>
          <p:grpSpPr>
            <a:xfrm>
              <a:off x="5374207" y="1712749"/>
              <a:ext cx="6122468" cy="1104957"/>
              <a:chOff x="5297213" y="1481959"/>
              <a:chExt cx="6122468" cy="1104957"/>
            </a:xfrm>
          </p:grpSpPr>
          <p:sp>
            <p:nvSpPr>
              <p:cNvPr id="8" name="Rectangle: Rounded Corners 2">
                <a:extLst>
                  <a:ext uri="{FF2B5EF4-FFF2-40B4-BE49-F238E27FC236}">
                    <a16:creationId xmlns:a16="http://schemas.microsoft.com/office/drawing/2014/main" id="{90D4C0BC-2946-A86B-D9BB-89F5CFE55F4B}"/>
                  </a:ext>
                </a:extLst>
              </p:cNvPr>
              <p:cNvSpPr/>
              <p:nvPr/>
            </p:nvSpPr>
            <p:spPr>
              <a:xfrm>
                <a:off x="5980385" y="1481960"/>
                <a:ext cx="5439296" cy="1104956"/>
              </a:xfrm>
              <a:custGeom>
                <a:avLst/>
                <a:gdLst>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39296" h="1104956">
                    <a:moveTo>
                      <a:pt x="0" y="562988"/>
                    </a:moveTo>
                    <a:cubicBezTo>
                      <a:pt x="273269" y="1046140"/>
                      <a:pt x="-120509" y="0"/>
                      <a:pt x="184616" y="0"/>
                    </a:cubicBezTo>
                    <a:lnTo>
                      <a:pt x="4886818" y="0"/>
                    </a:lnTo>
                    <a:cubicBezTo>
                      <a:pt x="5191943" y="0"/>
                      <a:pt x="5439296" y="247353"/>
                      <a:pt x="5439296" y="552478"/>
                    </a:cubicBezTo>
                    <a:lnTo>
                      <a:pt x="5439296" y="552478"/>
                    </a:lnTo>
                    <a:cubicBezTo>
                      <a:pt x="5439296" y="857603"/>
                      <a:pt x="5191943" y="1104956"/>
                      <a:pt x="4886818" y="1104956"/>
                    </a:cubicBezTo>
                    <a:lnTo>
                      <a:pt x="184616" y="1104956"/>
                    </a:lnTo>
                    <a:cubicBezTo>
                      <a:pt x="-120509" y="1104956"/>
                      <a:pt x="241738" y="500250"/>
                      <a:pt x="0" y="56298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Isosceles Triangle 8">
                <a:extLst>
                  <a:ext uri="{FF2B5EF4-FFF2-40B4-BE49-F238E27FC236}">
                    <a16:creationId xmlns:a16="http://schemas.microsoft.com/office/drawing/2014/main" id="{210A9C2A-828C-F52A-F4AE-07835499F463}"/>
                  </a:ext>
                </a:extLst>
              </p:cNvPr>
              <p:cNvSpPr>
                <a:spLocks noChangeAspect="1"/>
              </p:cNvSpPr>
              <p:nvPr/>
            </p:nvSpPr>
            <p:spPr>
              <a:xfrm>
                <a:off x="5297213" y="1481959"/>
                <a:ext cx="1639613" cy="110495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6" name="TextBox 5">
              <a:extLst>
                <a:ext uri="{FF2B5EF4-FFF2-40B4-BE49-F238E27FC236}">
                  <a16:creationId xmlns:a16="http://schemas.microsoft.com/office/drawing/2014/main" id="{7DE9F614-476D-B65C-DC07-B9827870723B}"/>
                </a:ext>
              </a:extLst>
            </p:cNvPr>
            <p:cNvSpPr txBox="1"/>
            <p:nvPr/>
          </p:nvSpPr>
          <p:spPr>
            <a:xfrm>
              <a:off x="5947424" y="1978213"/>
              <a:ext cx="493986" cy="707886"/>
            </a:xfrm>
            <a:prstGeom prst="rect">
              <a:avLst/>
            </a:prstGeom>
            <a:noFill/>
          </p:spPr>
          <p:txBody>
            <a:bodyPr wrap="square" rtlCol="0">
              <a:spAutoFit/>
            </a:bodyPr>
            <a:lstStyle/>
            <a:p>
              <a:pPr algn="ctr"/>
              <a:r>
                <a:rPr lang="de-DE" sz="4000" b="1">
                  <a:solidFill>
                    <a:schemeClr val="bg1"/>
                  </a:solidFill>
                </a:rPr>
                <a:t>1</a:t>
              </a:r>
            </a:p>
          </p:txBody>
        </p:sp>
        <p:sp>
          <p:nvSpPr>
            <p:cNvPr id="7" name="TextBox 82">
              <a:extLst>
                <a:ext uri="{FF2B5EF4-FFF2-40B4-BE49-F238E27FC236}">
                  <a16:creationId xmlns:a16="http://schemas.microsoft.com/office/drawing/2014/main" id="{41DCEC17-E59D-B7F6-56E2-B8DAB6C251BC}"/>
                </a:ext>
              </a:extLst>
            </p:cNvPr>
            <p:cNvSpPr txBox="1"/>
            <p:nvPr/>
          </p:nvSpPr>
          <p:spPr>
            <a:xfrm>
              <a:off x="7013820" y="1849728"/>
              <a:ext cx="4253050" cy="830997"/>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chemeClr val="tx2"/>
                  </a:solidFill>
                  <a:effectLst/>
                  <a:uLnTx/>
                  <a:uFillTx/>
                  <a:ea typeface="+mn-ea"/>
                  <a:cs typeface="+mn-cs"/>
                </a:rPr>
                <a:t>Nutze </a:t>
              </a:r>
              <a:r>
                <a:rPr kumimoji="0" lang="de-DE" sz="1600" b="1" i="0" u="none" strike="noStrike" kern="1200" cap="none" spc="0" normalizeH="0" baseline="0" noProof="0" dirty="0" err="1">
                  <a:ln>
                    <a:noFill/>
                  </a:ln>
                  <a:solidFill>
                    <a:schemeClr val="tx2"/>
                  </a:solidFill>
                  <a:effectLst/>
                  <a:uLnTx/>
                  <a:uFillTx/>
                  <a:ea typeface="+mn-ea"/>
                  <a:cs typeface="+mn-cs"/>
                </a:rPr>
                <a:t>ChatGPT</a:t>
              </a:r>
              <a:r>
                <a:rPr kumimoji="0" lang="de-DE" sz="1600" b="1" i="0" u="none" strike="noStrike" kern="1200" cap="none" spc="0" normalizeH="0" baseline="0" noProof="0" dirty="0">
                  <a:ln>
                    <a:noFill/>
                  </a:ln>
                  <a:solidFill>
                    <a:schemeClr val="tx2"/>
                  </a:solidFill>
                  <a:effectLst/>
                  <a:uLnTx/>
                  <a:uFillTx/>
                  <a:ea typeface="+mn-ea"/>
                  <a:cs typeface="+mn-cs"/>
                </a:rPr>
                <a:t> als unterstützendes Werkzeug</a:t>
              </a:r>
            </a:p>
            <a:p>
              <a:pPr marL="0" marR="0" lvl="0" indent="0" defTabSz="914400" rtl="0" eaLnBrk="1" fontAlgn="auto" latinLnBrk="0" hangingPunct="1">
                <a:lnSpc>
                  <a:spcPct val="100000"/>
                </a:lnSpc>
                <a:spcBef>
                  <a:spcPts val="0"/>
                </a:spcBef>
                <a:spcAft>
                  <a:spcPts val="0"/>
                </a:spcAft>
                <a:buClrTx/>
                <a:buSzTx/>
                <a:buFontTx/>
                <a:buNone/>
                <a:tabLst/>
                <a:defRPr/>
              </a:pPr>
              <a:r>
                <a:rPr lang="de-DE" sz="1600" dirty="0" err="1">
                  <a:sym typeface="Wingdings" pitchFamily="2" charset="2"/>
                </a:rPr>
                <a:t>ChatGPT</a:t>
              </a:r>
              <a:r>
                <a:rPr lang="de-DE" sz="1600" dirty="0">
                  <a:sym typeface="Wingdings" pitchFamily="2" charset="2"/>
                </a:rPr>
                <a:t> kann als unterstützendes Werkzeug (wie Google oder Wikipedia) sehr nützlich sein </a:t>
              </a:r>
              <a:endParaRPr kumimoji="0" lang="de-DE" sz="1600" b="0" i="0" u="none" strike="noStrike" kern="1200" cap="none" spc="0" normalizeH="0" baseline="0" noProof="0" dirty="0">
                <a:ln>
                  <a:noFill/>
                </a:ln>
                <a:solidFill>
                  <a:prstClr val="black"/>
                </a:solidFill>
                <a:effectLst/>
                <a:uLnTx/>
                <a:uFillTx/>
                <a:ea typeface="+mn-ea"/>
                <a:cs typeface="+mn-cs"/>
              </a:endParaRPr>
            </a:p>
          </p:txBody>
        </p:sp>
      </p:grpSp>
      <p:grpSp>
        <p:nvGrpSpPr>
          <p:cNvPr id="10" name="Group 9">
            <a:extLst>
              <a:ext uri="{FF2B5EF4-FFF2-40B4-BE49-F238E27FC236}">
                <a16:creationId xmlns:a16="http://schemas.microsoft.com/office/drawing/2014/main" id="{2B183A42-319D-0F18-9E29-BE67E6D7A9C4}"/>
              </a:ext>
            </a:extLst>
          </p:cNvPr>
          <p:cNvGrpSpPr/>
          <p:nvPr/>
        </p:nvGrpSpPr>
        <p:grpSpPr>
          <a:xfrm>
            <a:off x="5374207" y="3170811"/>
            <a:ext cx="6420844" cy="1104957"/>
            <a:chOff x="5374207" y="3170811"/>
            <a:chExt cx="6122468" cy="1104957"/>
          </a:xfrm>
        </p:grpSpPr>
        <p:grpSp>
          <p:nvGrpSpPr>
            <p:cNvPr id="11" name="Group 10">
              <a:extLst>
                <a:ext uri="{FF2B5EF4-FFF2-40B4-BE49-F238E27FC236}">
                  <a16:creationId xmlns:a16="http://schemas.microsoft.com/office/drawing/2014/main" id="{8CF6BB86-B913-ADD8-1EBB-7187704B5368}"/>
                </a:ext>
              </a:extLst>
            </p:cNvPr>
            <p:cNvGrpSpPr/>
            <p:nvPr/>
          </p:nvGrpSpPr>
          <p:grpSpPr>
            <a:xfrm>
              <a:off x="5374207" y="3170811"/>
              <a:ext cx="6122468" cy="1104957"/>
              <a:chOff x="5297213" y="1481959"/>
              <a:chExt cx="6122468" cy="1104957"/>
            </a:xfrm>
          </p:grpSpPr>
          <p:sp>
            <p:nvSpPr>
              <p:cNvPr id="14" name="Rectangle: Rounded Corners 2">
                <a:extLst>
                  <a:ext uri="{FF2B5EF4-FFF2-40B4-BE49-F238E27FC236}">
                    <a16:creationId xmlns:a16="http://schemas.microsoft.com/office/drawing/2014/main" id="{CDEF9E14-C548-68DC-FB7D-FCD1FD4830E7}"/>
                  </a:ext>
                </a:extLst>
              </p:cNvPr>
              <p:cNvSpPr/>
              <p:nvPr/>
            </p:nvSpPr>
            <p:spPr>
              <a:xfrm>
                <a:off x="5980385" y="1481960"/>
                <a:ext cx="5439296" cy="1104956"/>
              </a:xfrm>
              <a:custGeom>
                <a:avLst/>
                <a:gdLst>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39296" h="1104956">
                    <a:moveTo>
                      <a:pt x="0" y="562988"/>
                    </a:moveTo>
                    <a:cubicBezTo>
                      <a:pt x="273269" y="1046140"/>
                      <a:pt x="-120509" y="0"/>
                      <a:pt x="184616" y="0"/>
                    </a:cubicBezTo>
                    <a:lnTo>
                      <a:pt x="4886818" y="0"/>
                    </a:lnTo>
                    <a:cubicBezTo>
                      <a:pt x="5191943" y="0"/>
                      <a:pt x="5439296" y="247353"/>
                      <a:pt x="5439296" y="552478"/>
                    </a:cubicBezTo>
                    <a:lnTo>
                      <a:pt x="5439296" y="552478"/>
                    </a:lnTo>
                    <a:cubicBezTo>
                      <a:pt x="5439296" y="857603"/>
                      <a:pt x="5191943" y="1104956"/>
                      <a:pt x="4886818" y="1104956"/>
                    </a:cubicBezTo>
                    <a:lnTo>
                      <a:pt x="184616" y="1104956"/>
                    </a:lnTo>
                    <a:cubicBezTo>
                      <a:pt x="-120509" y="1104956"/>
                      <a:pt x="241738" y="500250"/>
                      <a:pt x="0" y="56298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Isosceles Triangle 14">
                <a:extLst>
                  <a:ext uri="{FF2B5EF4-FFF2-40B4-BE49-F238E27FC236}">
                    <a16:creationId xmlns:a16="http://schemas.microsoft.com/office/drawing/2014/main" id="{8959C607-C3C6-A015-AF17-84598F99802A}"/>
                  </a:ext>
                </a:extLst>
              </p:cNvPr>
              <p:cNvSpPr>
                <a:spLocks noChangeAspect="1"/>
              </p:cNvSpPr>
              <p:nvPr/>
            </p:nvSpPr>
            <p:spPr>
              <a:xfrm>
                <a:off x="5297213" y="1481959"/>
                <a:ext cx="1639613" cy="1104956"/>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2" name="TextBox 11">
              <a:extLst>
                <a:ext uri="{FF2B5EF4-FFF2-40B4-BE49-F238E27FC236}">
                  <a16:creationId xmlns:a16="http://schemas.microsoft.com/office/drawing/2014/main" id="{D42A923C-F2D2-9DB9-9353-65E1E5E40617}"/>
                </a:ext>
              </a:extLst>
            </p:cNvPr>
            <p:cNvSpPr txBox="1"/>
            <p:nvPr/>
          </p:nvSpPr>
          <p:spPr>
            <a:xfrm>
              <a:off x="5947020" y="3497293"/>
              <a:ext cx="493986" cy="707886"/>
            </a:xfrm>
            <a:prstGeom prst="rect">
              <a:avLst/>
            </a:prstGeom>
            <a:noFill/>
          </p:spPr>
          <p:txBody>
            <a:bodyPr wrap="square" rtlCol="0">
              <a:spAutoFit/>
            </a:bodyPr>
            <a:lstStyle/>
            <a:p>
              <a:pPr algn="ctr"/>
              <a:r>
                <a:rPr lang="de-DE" sz="4000" b="1">
                  <a:solidFill>
                    <a:schemeClr val="bg1"/>
                  </a:solidFill>
                </a:rPr>
                <a:t>2</a:t>
              </a:r>
            </a:p>
          </p:txBody>
        </p:sp>
        <p:sp>
          <p:nvSpPr>
            <p:cNvPr id="13" name="TextBox 82">
              <a:extLst>
                <a:ext uri="{FF2B5EF4-FFF2-40B4-BE49-F238E27FC236}">
                  <a16:creationId xmlns:a16="http://schemas.microsoft.com/office/drawing/2014/main" id="{77CB3A7B-8CB1-1700-3F70-D7D4A3B09BE9}"/>
                </a:ext>
              </a:extLst>
            </p:cNvPr>
            <p:cNvSpPr txBox="1"/>
            <p:nvPr/>
          </p:nvSpPr>
          <p:spPr>
            <a:xfrm>
              <a:off x="7013819" y="3307790"/>
              <a:ext cx="3935055" cy="830997"/>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de-DE" sz="1600" b="1">
                  <a:solidFill>
                    <a:schemeClr val="tx2"/>
                  </a:solidFill>
                </a:rPr>
                <a:t>Hinterfrage Antworten stets kritisch</a:t>
              </a:r>
              <a:endParaRPr kumimoji="0" lang="de-DE" sz="1600" b="1" i="0" u="none" strike="noStrike" kern="1200" cap="none" spc="0" normalizeH="0" baseline="0" noProof="0">
                <a:ln>
                  <a:noFill/>
                </a:ln>
                <a:solidFill>
                  <a:schemeClr val="tx2"/>
                </a:solidFill>
                <a:effectLst/>
                <a:uLnTx/>
                <a:uFillTx/>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prstClr val="black"/>
                  </a:solidFill>
                  <a:effectLst/>
                  <a:uLnTx/>
                  <a:uFillTx/>
                  <a:ea typeface="+mn-ea"/>
                  <a:cs typeface="+mn-cs"/>
                </a:rPr>
                <a:t>Das Arbeiten mit </a:t>
              </a:r>
              <a:r>
                <a:rPr kumimoji="0" lang="de-DE" sz="1600" b="0" i="0" u="none" strike="noStrike" kern="1200" cap="none" spc="0" normalizeH="0" baseline="0" noProof="0" err="1">
                  <a:ln>
                    <a:noFill/>
                  </a:ln>
                  <a:solidFill>
                    <a:prstClr val="black"/>
                  </a:solidFill>
                  <a:effectLst/>
                  <a:uLnTx/>
                  <a:uFillTx/>
                  <a:ea typeface="+mn-ea"/>
                  <a:cs typeface="+mn-cs"/>
                </a:rPr>
                <a:t>ChatGPT</a:t>
              </a:r>
              <a:r>
                <a:rPr kumimoji="0" lang="de-DE" sz="1600" b="0" i="0" u="none" strike="noStrike" kern="1200" cap="none" spc="0" normalizeH="0" baseline="0" noProof="0">
                  <a:ln>
                    <a:noFill/>
                  </a:ln>
                  <a:solidFill>
                    <a:prstClr val="black"/>
                  </a:solidFill>
                  <a:effectLst/>
                  <a:uLnTx/>
                  <a:uFillTx/>
                  <a:ea typeface="+mn-ea"/>
                  <a:cs typeface="+mn-cs"/>
                </a:rPr>
                <a:t> ersetzt nicht das eigene, kritische Denken</a:t>
              </a:r>
            </a:p>
          </p:txBody>
        </p:sp>
      </p:grpSp>
      <p:grpSp>
        <p:nvGrpSpPr>
          <p:cNvPr id="16" name="Group 15">
            <a:extLst>
              <a:ext uri="{FF2B5EF4-FFF2-40B4-BE49-F238E27FC236}">
                <a16:creationId xmlns:a16="http://schemas.microsoft.com/office/drawing/2014/main" id="{DD021872-C2AC-BD07-B808-DEB2FB3A3C88}"/>
              </a:ext>
            </a:extLst>
          </p:cNvPr>
          <p:cNvGrpSpPr/>
          <p:nvPr/>
        </p:nvGrpSpPr>
        <p:grpSpPr>
          <a:xfrm>
            <a:off x="5374207" y="4628873"/>
            <a:ext cx="6536581" cy="1104957"/>
            <a:chOff x="5374207" y="4628873"/>
            <a:chExt cx="6232827" cy="1104957"/>
          </a:xfrm>
        </p:grpSpPr>
        <p:grpSp>
          <p:nvGrpSpPr>
            <p:cNvPr id="17" name="Group 16">
              <a:extLst>
                <a:ext uri="{FF2B5EF4-FFF2-40B4-BE49-F238E27FC236}">
                  <a16:creationId xmlns:a16="http://schemas.microsoft.com/office/drawing/2014/main" id="{20C25446-2CC5-1B3C-E7AF-2BAAB3F6CDD4}"/>
                </a:ext>
              </a:extLst>
            </p:cNvPr>
            <p:cNvGrpSpPr/>
            <p:nvPr/>
          </p:nvGrpSpPr>
          <p:grpSpPr>
            <a:xfrm>
              <a:off x="5374207" y="4628873"/>
              <a:ext cx="6122468" cy="1104957"/>
              <a:chOff x="5297213" y="1481959"/>
              <a:chExt cx="6122468" cy="1104957"/>
            </a:xfrm>
          </p:grpSpPr>
          <p:sp>
            <p:nvSpPr>
              <p:cNvPr id="20" name="Rectangle: Rounded Corners 2">
                <a:extLst>
                  <a:ext uri="{FF2B5EF4-FFF2-40B4-BE49-F238E27FC236}">
                    <a16:creationId xmlns:a16="http://schemas.microsoft.com/office/drawing/2014/main" id="{D6E458CF-2B2E-484E-8BB2-78DDB4584C75}"/>
                  </a:ext>
                </a:extLst>
              </p:cNvPr>
              <p:cNvSpPr/>
              <p:nvPr/>
            </p:nvSpPr>
            <p:spPr>
              <a:xfrm>
                <a:off x="5980385" y="1481960"/>
                <a:ext cx="5439296" cy="1104956"/>
              </a:xfrm>
              <a:custGeom>
                <a:avLst/>
                <a:gdLst>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39296" h="1104956">
                    <a:moveTo>
                      <a:pt x="0" y="562988"/>
                    </a:moveTo>
                    <a:cubicBezTo>
                      <a:pt x="273269" y="1046140"/>
                      <a:pt x="-120509" y="0"/>
                      <a:pt x="184616" y="0"/>
                    </a:cubicBezTo>
                    <a:lnTo>
                      <a:pt x="4886818" y="0"/>
                    </a:lnTo>
                    <a:cubicBezTo>
                      <a:pt x="5191943" y="0"/>
                      <a:pt x="5439296" y="247353"/>
                      <a:pt x="5439296" y="552478"/>
                    </a:cubicBezTo>
                    <a:lnTo>
                      <a:pt x="5439296" y="552478"/>
                    </a:lnTo>
                    <a:cubicBezTo>
                      <a:pt x="5439296" y="857603"/>
                      <a:pt x="5191943" y="1104956"/>
                      <a:pt x="4886818" y="1104956"/>
                    </a:cubicBezTo>
                    <a:lnTo>
                      <a:pt x="184616" y="1104956"/>
                    </a:lnTo>
                    <a:cubicBezTo>
                      <a:pt x="-120509" y="1104956"/>
                      <a:pt x="241738" y="500250"/>
                      <a:pt x="0" y="56298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Isosceles Triangle 20">
                <a:extLst>
                  <a:ext uri="{FF2B5EF4-FFF2-40B4-BE49-F238E27FC236}">
                    <a16:creationId xmlns:a16="http://schemas.microsoft.com/office/drawing/2014/main" id="{67600E3E-EC42-14EC-5076-007EDA34E8CE}"/>
                  </a:ext>
                </a:extLst>
              </p:cNvPr>
              <p:cNvSpPr>
                <a:spLocks noChangeAspect="1"/>
              </p:cNvSpPr>
              <p:nvPr/>
            </p:nvSpPr>
            <p:spPr>
              <a:xfrm>
                <a:off x="5297213" y="1481959"/>
                <a:ext cx="1639613" cy="1104956"/>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8" name="TextBox 17">
              <a:extLst>
                <a:ext uri="{FF2B5EF4-FFF2-40B4-BE49-F238E27FC236}">
                  <a16:creationId xmlns:a16="http://schemas.microsoft.com/office/drawing/2014/main" id="{A028D7CD-37D6-8EB9-81EF-CD8F8D9C5954}"/>
                </a:ext>
              </a:extLst>
            </p:cNvPr>
            <p:cNvSpPr txBox="1"/>
            <p:nvPr/>
          </p:nvSpPr>
          <p:spPr>
            <a:xfrm>
              <a:off x="5947020" y="4960804"/>
              <a:ext cx="493986" cy="707886"/>
            </a:xfrm>
            <a:prstGeom prst="rect">
              <a:avLst/>
            </a:prstGeom>
            <a:noFill/>
          </p:spPr>
          <p:txBody>
            <a:bodyPr wrap="square" rtlCol="0">
              <a:spAutoFit/>
            </a:bodyPr>
            <a:lstStyle/>
            <a:p>
              <a:pPr algn="ctr"/>
              <a:r>
                <a:rPr lang="de-DE" sz="4000" b="1">
                  <a:solidFill>
                    <a:schemeClr val="bg1"/>
                  </a:solidFill>
                </a:rPr>
                <a:t>3</a:t>
              </a:r>
            </a:p>
          </p:txBody>
        </p:sp>
        <p:sp>
          <p:nvSpPr>
            <p:cNvPr id="19" name="TextBox 82">
              <a:extLst>
                <a:ext uri="{FF2B5EF4-FFF2-40B4-BE49-F238E27FC236}">
                  <a16:creationId xmlns:a16="http://schemas.microsoft.com/office/drawing/2014/main" id="{9D69F882-877A-C817-B9BF-33EB16DD5907}"/>
                </a:ext>
              </a:extLst>
            </p:cNvPr>
            <p:cNvSpPr txBox="1"/>
            <p:nvPr/>
          </p:nvSpPr>
          <p:spPr>
            <a:xfrm>
              <a:off x="7013818" y="4765852"/>
              <a:ext cx="4593216" cy="830997"/>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de-DE" sz="1600" b="1">
                  <a:solidFill>
                    <a:schemeClr val="tx2"/>
                  </a:solidFill>
                </a:rPr>
                <a:t>Verifiziere Outputs durch belegbare Quellen</a:t>
              </a:r>
              <a:endParaRPr kumimoji="0" lang="de-DE" sz="1600" b="1" i="0" u="none" strike="noStrike" kern="1200" cap="none" spc="0" normalizeH="0" baseline="0" noProof="0">
                <a:ln>
                  <a:noFill/>
                </a:ln>
                <a:solidFill>
                  <a:schemeClr val="tx2"/>
                </a:solidFill>
                <a:effectLst/>
                <a:uLnTx/>
                <a:uFillTx/>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prstClr val="black"/>
                  </a:solidFill>
                  <a:effectLst/>
                  <a:uLnTx/>
                  <a:uFillTx/>
                  <a:ea typeface="+mn-ea"/>
                  <a:cs typeface="+mn-cs"/>
                </a:rPr>
                <a:t>Auch sehr plausibel klingende Antworten müssen durch belegbare Quellen verifiziert werden</a:t>
              </a:r>
            </a:p>
          </p:txBody>
        </p:sp>
      </p:grpSp>
      <p:grpSp>
        <p:nvGrpSpPr>
          <p:cNvPr id="22" name="Group 21">
            <a:extLst>
              <a:ext uri="{FF2B5EF4-FFF2-40B4-BE49-F238E27FC236}">
                <a16:creationId xmlns:a16="http://schemas.microsoft.com/office/drawing/2014/main" id="{C2686CA8-1AB9-EB17-1FDA-DD2BEDA83093}"/>
              </a:ext>
            </a:extLst>
          </p:cNvPr>
          <p:cNvGrpSpPr/>
          <p:nvPr/>
        </p:nvGrpSpPr>
        <p:grpSpPr>
          <a:xfrm>
            <a:off x="529074" y="2073219"/>
            <a:ext cx="3731038" cy="3372445"/>
            <a:chOff x="529074" y="1711722"/>
            <a:chExt cx="3731038" cy="3372445"/>
          </a:xfrm>
        </p:grpSpPr>
        <p:grpSp>
          <p:nvGrpSpPr>
            <p:cNvPr id="23" name="Graphic 15" descr="{&quot;Key&quot;:&quot;POWER_USER_SHAPE_ICON&quot;,&quot;Value&quot;:&quot;POWER_USER_SHAPE_ICON_STYLE_1&quot;}">
              <a:extLst>
                <a:ext uri="{FF2B5EF4-FFF2-40B4-BE49-F238E27FC236}">
                  <a16:creationId xmlns:a16="http://schemas.microsoft.com/office/drawing/2014/main" id="{A4A20CF1-8727-BC8A-2CE1-53251CC8ECA0}"/>
                </a:ext>
              </a:extLst>
            </p:cNvPr>
            <p:cNvGrpSpPr/>
            <p:nvPr/>
          </p:nvGrpSpPr>
          <p:grpSpPr>
            <a:xfrm>
              <a:off x="1387078" y="1711722"/>
              <a:ext cx="2873034" cy="3330249"/>
              <a:chOff x="1387078" y="1711722"/>
              <a:chExt cx="2873034" cy="3330249"/>
            </a:xfrm>
          </p:grpSpPr>
          <p:sp>
            <p:nvSpPr>
              <p:cNvPr id="37" name="Freeform: Shape 36">
                <a:extLst>
                  <a:ext uri="{FF2B5EF4-FFF2-40B4-BE49-F238E27FC236}">
                    <a16:creationId xmlns:a16="http://schemas.microsoft.com/office/drawing/2014/main" id="{388A1A99-E9F4-032D-0653-EF8CC6C8A472}"/>
                  </a:ext>
                </a:extLst>
              </p:cNvPr>
              <p:cNvSpPr/>
              <p:nvPr/>
            </p:nvSpPr>
            <p:spPr>
              <a:xfrm>
                <a:off x="1508236" y="1711722"/>
                <a:ext cx="2751876" cy="1940358"/>
              </a:xfrm>
              <a:prstGeom prst="roundRect">
                <a:avLst/>
              </a:prstGeom>
              <a:solidFill>
                <a:srgbClr val="E7E6E6"/>
              </a:solidFill>
              <a:ln w="5647" cap="flat">
                <a:noFill/>
                <a:prstDash val="solid"/>
                <a:miter/>
              </a:ln>
            </p:spPr>
            <p:txBody>
              <a:bodyPr rtlCol="0" anchor="ctr"/>
              <a:lstStyle/>
              <a:p>
                <a:endParaRPr lang="de-DE"/>
              </a:p>
            </p:txBody>
          </p:sp>
          <p:sp>
            <p:nvSpPr>
              <p:cNvPr id="38" name="Freeform: Shape 37">
                <a:extLst>
                  <a:ext uri="{FF2B5EF4-FFF2-40B4-BE49-F238E27FC236}">
                    <a16:creationId xmlns:a16="http://schemas.microsoft.com/office/drawing/2014/main" id="{68F65708-5B52-4A2D-5E8F-88825C87D89D}"/>
                  </a:ext>
                </a:extLst>
              </p:cNvPr>
              <p:cNvSpPr/>
              <p:nvPr/>
            </p:nvSpPr>
            <p:spPr>
              <a:xfrm>
                <a:off x="2108822" y="3584342"/>
                <a:ext cx="308211" cy="395222"/>
              </a:xfrm>
              <a:custGeom>
                <a:avLst/>
                <a:gdLst>
                  <a:gd name="connsiteX0" fmla="*/ 308212 w 308211"/>
                  <a:gd name="connsiteY0" fmla="*/ 197518 h 395222"/>
                  <a:gd name="connsiteX1" fmla="*/ 243391 w 308211"/>
                  <a:gd name="connsiteY1" fmla="*/ 170990 h 395222"/>
                  <a:gd name="connsiteX2" fmla="*/ 232078 w 308211"/>
                  <a:gd name="connsiteY2" fmla="*/ 166409 h 395222"/>
                  <a:gd name="connsiteX3" fmla="*/ 178796 w 308211"/>
                  <a:gd name="connsiteY3" fmla="*/ 237565 h 395222"/>
                  <a:gd name="connsiteX4" fmla="*/ 74041 w 308211"/>
                  <a:gd name="connsiteY4" fmla="*/ 0 h 395222"/>
                  <a:gd name="connsiteX5" fmla="*/ 0 w 308211"/>
                  <a:gd name="connsiteY5" fmla="*/ 186658 h 395222"/>
                  <a:gd name="connsiteX6" fmla="*/ 135468 w 308211"/>
                  <a:gd name="connsiteY6" fmla="*/ 376879 h 395222"/>
                  <a:gd name="connsiteX7" fmla="*/ 196452 w 308211"/>
                  <a:gd name="connsiteY7" fmla="*/ 387097 h 395222"/>
                  <a:gd name="connsiteX8" fmla="*/ 210641 w 308211"/>
                  <a:gd name="connsiteY8" fmla="*/ 370092 h 39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211" h="395222">
                    <a:moveTo>
                      <a:pt x="308212" y="197518"/>
                    </a:moveTo>
                    <a:lnTo>
                      <a:pt x="243391" y="170990"/>
                    </a:lnTo>
                    <a:lnTo>
                      <a:pt x="232078" y="166409"/>
                    </a:lnTo>
                    <a:lnTo>
                      <a:pt x="178796" y="237565"/>
                    </a:lnTo>
                    <a:lnTo>
                      <a:pt x="74041" y="0"/>
                    </a:lnTo>
                    <a:lnTo>
                      <a:pt x="0" y="186658"/>
                    </a:lnTo>
                    <a:lnTo>
                      <a:pt x="135468" y="376879"/>
                    </a:lnTo>
                    <a:cubicBezTo>
                      <a:pt x="149487" y="396541"/>
                      <a:pt x="176791" y="401116"/>
                      <a:pt x="196452" y="387097"/>
                    </a:cubicBezTo>
                    <a:cubicBezTo>
                      <a:pt x="202563" y="382740"/>
                      <a:pt x="207449" y="376884"/>
                      <a:pt x="210641" y="370092"/>
                    </a:cubicBezTo>
                    <a:close/>
                  </a:path>
                </a:pathLst>
              </a:custGeom>
              <a:solidFill>
                <a:srgbClr val="0B274F"/>
              </a:solidFill>
              <a:ln w="5647" cap="flat">
                <a:noFill/>
                <a:prstDash val="solid"/>
                <a:miter/>
              </a:ln>
            </p:spPr>
            <p:txBody>
              <a:bodyPr rtlCol="0" anchor="ctr"/>
              <a:lstStyle/>
              <a:p>
                <a:endParaRPr lang="de-DE"/>
              </a:p>
            </p:txBody>
          </p:sp>
          <p:sp>
            <p:nvSpPr>
              <p:cNvPr id="39" name="Freeform: Shape 38">
                <a:extLst>
                  <a:ext uri="{FF2B5EF4-FFF2-40B4-BE49-F238E27FC236}">
                    <a16:creationId xmlns:a16="http://schemas.microsoft.com/office/drawing/2014/main" id="{560045DD-DD4E-D6E9-A4DD-464A6FD6B7AB}"/>
                  </a:ext>
                </a:extLst>
              </p:cNvPr>
              <p:cNvSpPr/>
              <p:nvPr/>
            </p:nvSpPr>
            <p:spPr>
              <a:xfrm>
                <a:off x="2108822" y="3584342"/>
                <a:ext cx="308211" cy="395222"/>
              </a:xfrm>
              <a:custGeom>
                <a:avLst/>
                <a:gdLst>
                  <a:gd name="connsiteX0" fmla="*/ 308212 w 308211"/>
                  <a:gd name="connsiteY0" fmla="*/ 197518 h 395222"/>
                  <a:gd name="connsiteX1" fmla="*/ 243391 w 308211"/>
                  <a:gd name="connsiteY1" fmla="*/ 170990 h 395222"/>
                  <a:gd name="connsiteX2" fmla="*/ 232078 w 308211"/>
                  <a:gd name="connsiteY2" fmla="*/ 166409 h 395222"/>
                  <a:gd name="connsiteX3" fmla="*/ 178796 w 308211"/>
                  <a:gd name="connsiteY3" fmla="*/ 237565 h 395222"/>
                  <a:gd name="connsiteX4" fmla="*/ 74041 w 308211"/>
                  <a:gd name="connsiteY4" fmla="*/ 0 h 395222"/>
                  <a:gd name="connsiteX5" fmla="*/ 0 w 308211"/>
                  <a:gd name="connsiteY5" fmla="*/ 186658 h 395222"/>
                  <a:gd name="connsiteX6" fmla="*/ 135468 w 308211"/>
                  <a:gd name="connsiteY6" fmla="*/ 376879 h 395222"/>
                  <a:gd name="connsiteX7" fmla="*/ 196452 w 308211"/>
                  <a:gd name="connsiteY7" fmla="*/ 387097 h 395222"/>
                  <a:gd name="connsiteX8" fmla="*/ 210641 w 308211"/>
                  <a:gd name="connsiteY8" fmla="*/ 370092 h 39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211" h="395222">
                    <a:moveTo>
                      <a:pt x="308212" y="197518"/>
                    </a:moveTo>
                    <a:lnTo>
                      <a:pt x="243391" y="170990"/>
                    </a:lnTo>
                    <a:lnTo>
                      <a:pt x="232078" y="166409"/>
                    </a:lnTo>
                    <a:lnTo>
                      <a:pt x="178796" y="237565"/>
                    </a:lnTo>
                    <a:lnTo>
                      <a:pt x="74041" y="0"/>
                    </a:lnTo>
                    <a:lnTo>
                      <a:pt x="0" y="186658"/>
                    </a:lnTo>
                    <a:lnTo>
                      <a:pt x="135468" y="376879"/>
                    </a:lnTo>
                    <a:cubicBezTo>
                      <a:pt x="149487" y="396541"/>
                      <a:pt x="176791" y="401116"/>
                      <a:pt x="196452" y="387097"/>
                    </a:cubicBezTo>
                    <a:cubicBezTo>
                      <a:pt x="202563" y="382740"/>
                      <a:pt x="207449" y="376884"/>
                      <a:pt x="210641" y="370092"/>
                    </a:cubicBezTo>
                    <a:close/>
                  </a:path>
                </a:pathLst>
              </a:custGeom>
              <a:solidFill>
                <a:schemeClr val="tx2"/>
              </a:solidFill>
              <a:ln w="5647" cap="flat">
                <a:noFill/>
                <a:prstDash val="solid"/>
                <a:miter/>
              </a:ln>
            </p:spPr>
            <p:txBody>
              <a:bodyPr rtlCol="0" anchor="ctr"/>
              <a:lstStyle/>
              <a:p>
                <a:endParaRPr lang="de-DE"/>
              </a:p>
            </p:txBody>
          </p:sp>
          <p:sp>
            <p:nvSpPr>
              <p:cNvPr id="40" name="Freeform: Shape 39">
                <a:extLst>
                  <a:ext uri="{FF2B5EF4-FFF2-40B4-BE49-F238E27FC236}">
                    <a16:creationId xmlns:a16="http://schemas.microsoft.com/office/drawing/2014/main" id="{7DFA6E49-CB24-FDAB-436B-774414BDCEC1}"/>
                  </a:ext>
                </a:extLst>
              </p:cNvPr>
              <p:cNvSpPr/>
              <p:nvPr/>
            </p:nvSpPr>
            <p:spPr>
              <a:xfrm>
                <a:off x="1704793" y="3557418"/>
                <a:ext cx="525583" cy="732604"/>
              </a:xfrm>
              <a:custGeom>
                <a:avLst/>
                <a:gdLst>
                  <a:gd name="connsiteX0" fmla="*/ 236999 w 525583"/>
                  <a:gd name="connsiteY0" fmla="*/ 0 h 732604"/>
                  <a:gd name="connsiteX1" fmla="*/ 46834 w 525583"/>
                  <a:gd name="connsiteY1" fmla="*/ 87277 h 732604"/>
                  <a:gd name="connsiteX2" fmla="*/ 0 w 525583"/>
                  <a:gd name="connsiteY2" fmla="*/ 516590 h 732604"/>
                  <a:gd name="connsiteX3" fmla="*/ 118500 w 525583"/>
                  <a:gd name="connsiteY3" fmla="*/ 594591 h 732604"/>
                  <a:gd name="connsiteX4" fmla="*/ 139202 w 525583"/>
                  <a:gd name="connsiteY4" fmla="*/ 732604 h 732604"/>
                  <a:gd name="connsiteX5" fmla="*/ 525584 w 525583"/>
                  <a:gd name="connsiteY5" fmla="*/ 698667 h 732604"/>
                  <a:gd name="connsiteX6" fmla="*/ 478071 w 525583"/>
                  <a:gd name="connsiteY6" fmla="*/ 26924 h 732604"/>
                  <a:gd name="connsiteX7" fmla="*/ 319694 w 525583"/>
                  <a:gd name="connsiteY7" fmla="*/ 113 h 7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583" h="732604">
                    <a:moveTo>
                      <a:pt x="236999" y="0"/>
                    </a:moveTo>
                    <a:cubicBezTo>
                      <a:pt x="236999" y="0"/>
                      <a:pt x="81960" y="48248"/>
                      <a:pt x="46834" y="87277"/>
                    </a:cubicBezTo>
                    <a:cubicBezTo>
                      <a:pt x="11709" y="126305"/>
                      <a:pt x="0" y="516590"/>
                      <a:pt x="0" y="516590"/>
                    </a:cubicBezTo>
                    <a:lnTo>
                      <a:pt x="118500" y="594591"/>
                    </a:lnTo>
                    <a:lnTo>
                      <a:pt x="139202" y="732604"/>
                    </a:lnTo>
                    <a:lnTo>
                      <a:pt x="525584" y="698667"/>
                    </a:lnTo>
                    <a:lnTo>
                      <a:pt x="478071" y="26924"/>
                    </a:lnTo>
                    <a:lnTo>
                      <a:pt x="319694" y="113"/>
                    </a:lnTo>
                    <a:close/>
                  </a:path>
                </a:pathLst>
              </a:custGeom>
              <a:solidFill>
                <a:srgbClr val="0B274F"/>
              </a:solidFill>
              <a:ln w="5647" cap="flat">
                <a:noFill/>
                <a:prstDash val="solid"/>
                <a:miter/>
              </a:ln>
            </p:spPr>
            <p:txBody>
              <a:bodyPr rtlCol="0" anchor="ctr"/>
              <a:lstStyle/>
              <a:p>
                <a:endParaRPr lang="de-DE"/>
              </a:p>
            </p:txBody>
          </p:sp>
          <p:sp>
            <p:nvSpPr>
              <p:cNvPr id="41" name="Freeform: Shape 40">
                <a:extLst>
                  <a:ext uri="{FF2B5EF4-FFF2-40B4-BE49-F238E27FC236}">
                    <a16:creationId xmlns:a16="http://schemas.microsoft.com/office/drawing/2014/main" id="{91C2DA84-2A73-86E3-0EDF-ED4A7585F5FD}"/>
                  </a:ext>
                </a:extLst>
              </p:cNvPr>
              <p:cNvSpPr/>
              <p:nvPr/>
            </p:nvSpPr>
            <p:spPr>
              <a:xfrm>
                <a:off x="1704793" y="3557418"/>
                <a:ext cx="525583" cy="732604"/>
              </a:xfrm>
              <a:custGeom>
                <a:avLst/>
                <a:gdLst>
                  <a:gd name="connsiteX0" fmla="*/ 236999 w 525583"/>
                  <a:gd name="connsiteY0" fmla="*/ 0 h 732604"/>
                  <a:gd name="connsiteX1" fmla="*/ 46834 w 525583"/>
                  <a:gd name="connsiteY1" fmla="*/ 87277 h 732604"/>
                  <a:gd name="connsiteX2" fmla="*/ 0 w 525583"/>
                  <a:gd name="connsiteY2" fmla="*/ 516590 h 732604"/>
                  <a:gd name="connsiteX3" fmla="*/ 118500 w 525583"/>
                  <a:gd name="connsiteY3" fmla="*/ 594591 h 732604"/>
                  <a:gd name="connsiteX4" fmla="*/ 139202 w 525583"/>
                  <a:gd name="connsiteY4" fmla="*/ 732604 h 732604"/>
                  <a:gd name="connsiteX5" fmla="*/ 525584 w 525583"/>
                  <a:gd name="connsiteY5" fmla="*/ 698667 h 732604"/>
                  <a:gd name="connsiteX6" fmla="*/ 478071 w 525583"/>
                  <a:gd name="connsiteY6" fmla="*/ 26924 h 732604"/>
                  <a:gd name="connsiteX7" fmla="*/ 319694 w 525583"/>
                  <a:gd name="connsiteY7" fmla="*/ 113 h 7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583" h="732604">
                    <a:moveTo>
                      <a:pt x="236999" y="0"/>
                    </a:moveTo>
                    <a:cubicBezTo>
                      <a:pt x="236999" y="0"/>
                      <a:pt x="81960" y="48248"/>
                      <a:pt x="46834" y="87277"/>
                    </a:cubicBezTo>
                    <a:cubicBezTo>
                      <a:pt x="11709" y="126305"/>
                      <a:pt x="0" y="516590"/>
                      <a:pt x="0" y="516590"/>
                    </a:cubicBezTo>
                    <a:lnTo>
                      <a:pt x="118500" y="594591"/>
                    </a:lnTo>
                    <a:lnTo>
                      <a:pt x="139202" y="732604"/>
                    </a:lnTo>
                    <a:lnTo>
                      <a:pt x="525584" y="698667"/>
                    </a:lnTo>
                    <a:lnTo>
                      <a:pt x="478071" y="26924"/>
                    </a:lnTo>
                    <a:lnTo>
                      <a:pt x="319694" y="113"/>
                    </a:lnTo>
                    <a:close/>
                  </a:path>
                </a:pathLst>
              </a:custGeom>
              <a:solidFill>
                <a:schemeClr val="tx2"/>
              </a:solidFill>
              <a:ln w="5647" cap="flat">
                <a:noFill/>
                <a:prstDash val="solid"/>
                <a:miter/>
              </a:ln>
            </p:spPr>
            <p:txBody>
              <a:bodyPr rtlCol="0" anchor="ctr"/>
              <a:lstStyle/>
              <a:p>
                <a:endParaRPr lang="de-DE"/>
              </a:p>
            </p:txBody>
          </p:sp>
          <p:grpSp>
            <p:nvGrpSpPr>
              <p:cNvPr id="42" name="Graphic 15" descr="{&quot;Key&quot;:&quot;POWER_USER_SHAPE_ICON&quot;,&quot;Value&quot;:&quot;POWER_USER_SHAPE_ICON_STYLE_1&quot;}">
                <a:extLst>
                  <a:ext uri="{FF2B5EF4-FFF2-40B4-BE49-F238E27FC236}">
                    <a16:creationId xmlns:a16="http://schemas.microsoft.com/office/drawing/2014/main" id="{04115B7D-13A1-1504-DC68-71A9E7B24D2B}"/>
                  </a:ext>
                </a:extLst>
              </p:cNvPr>
              <p:cNvGrpSpPr/>
              <p:nvPr/>
            </p:nvGrpSpPr>
            <p:grpSpPr>
              <a:xfrm>
                <a:off x="1387078" y="2642907"/>
                <a:ext cx="2077899" cy="914510"/>
                <a:chOff x="1387078" y="2642907"/>
                <a:chExt cx="2077899" cy="914510"/>
              </a:xfrm>
            </p:grpSpPr>
            <p:sp>
              <p:nvSpPr>
                <p:cNvPr id="50" name="Freeform: Shape 49">
                  <a:extLst>
                    <a:ext uri="{FF2B5EF4-FFF2-40B4-BE49-F238E27FC236}">
                      <a16:creationId xmlns:a16="http://schemas.microsoft.com/office/drawing/2014/main" id="{7F4B93DC-7BA9-A32D-257C-042087F0D1D2}"/>
                    </a:ext>
                  </a:extLst>
                </p:cNvPr>
                <p:cNvSpPr/>
                <p:nvPr/>
              </p:nvSpPr>
              <p:spPr>
                <a:xfrm>
                  <a:off x="1435948" y="3190098"/>
                  <a:ext cx="49888" cy="47230"/>
                </a:xfrm>
                <a:custGeom>
                  <a:avLst/>
                  <a:gdLst>
                    <a:gd name="connsiteX0" fmla="*/ 24944 w 49888"/>
                    <a:gd name="connsiteY0" fmla="*/ 0 h 47230"/>
                    <a:gd name="connsiteX1" fmla="*/ 32580 w 49888"/>
                    <a:gd name="connsiteY1" fmla="*/ 15725 h 47230"/>
                    <a:gd name="connsiteX2" fmla="*/ 49889 w 49888"/>
                    <a:gd name="connsiteY2" fmla="*/ 18270 h 47230"/>
                    <a:gd name="connsiteX3" fmla="*/ 37671 w 49888"/>
                    <a:gd name="connsiteY3" fmla="*/ 30487 h 47230"/>
                    <a:gd name="connsiteX4" fmla="*/ 40216 w 49888"/>
                    <a:gd name="connsiteY4" fmla="*/ 47230 h 47230"/>
                    <a:gd name="connsiteX5" fmla="*/ 24944 w 49888"/>
                    <a:gd name="connsiteY5" fmla="*/ 39142 h 47230"/>
                    <a:gd name="connsiteX6" fmla="*/ 9672 w 49888"/>
                    <a:gd name="connsiteY6" fmla="*/ 47230 h 47230"/>
                    <a:gd name="connsiteX7" fmla="*/ 12727 w 49888"/>
                    <a:gd name="connsiteY7" fmla="*/ 30487 h 47230"/>
                    <a:gd name="connsiteX8" fmla="*/ 0 w 49888"/>
                    <a:gd name="connsiteY8" fmla="*/ 18270 h 47230"/>
                    <a:gd name="connsiteX9" fmla="*/ 17308 w 49888"/>
                    <a:gd name="connsiteY9" fmla="*/ 15725 h 47230"/>
                    <a:gd name="connsiteX10" fmla="*/ 24944 w 49888"/>
                    <a:gd name="connsiteY10" fmla="*/ 0 h 4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888" h="47230">
                      <a:moveTo>
                        <a:pt x="24944" y="0"/>
                      </a:moveTo>
                      <a:lnTo>
                        <a:pt x="32580" y="15725"/>
                      </a:lnTo>
                      <a:lnTo>
                        <a:pt x="49889" y="18270"/>
                      </a:lnTo>
                      <a:lnTo>
                        <a:pt x="37671" y="30487"/>
                      </a:lnTo>
                      <a:lnTo>
                        <a:pt x="40216" y="47230"/>
                      </a:lnTo>
                      <a:lnTo>
                        <a:pt x="24944" y="39142"/>
                      </a:lnTo>
                      <a:lnTo>
                        <a:pt x="9672" y="47230"/>
                      </a:lnTo>
                      <a:lnTo>
                        <a:pt x="12727" y="30487"/>
                      </a:lnTo>
                      <a:lnTo>
                        <a:pt x="0" y="18270"/>
                      </a:lnTo>
                      <a:lnTo>
                        <a:pt x="17308" y="15725"/>
                      </a:lnTo>
                      <a:lnTo>
                        <a:pt x="24944" y="0"/>
                      </a:lnTo>
                      <a:close/>
                    </a:path>
                  </a:pathLst>
                </a:custGeom>
                <a:gradFill>
                  <a:gsLst>
                    <a:gs pos="2000">
                      <a:srgbClr val="FFFFFF">
                        <a:alpha val="0"/>
                      </a:srgbClr>
                    </a:gs>
                    <a:gs pos="100000">
                      <a:srgbClr val="FFFFFF"/>
                    </a:gs>
                  </a:gsLst>
                  <a:lin ang="5488410" scaled="1"/>
                </a:gradFill>
                <a:ln w="5647" cap="flat">
                  <a:noFill/>
                  <a:prstDash val="solid"/>
                  <a:miter/>
                </a:ln>
              </p:spPr>
              <p:txBody>
                <a:bodyPr rtlCol="0" anchor="ctr"/>
                <a:lstStyle/>
                <a:p>
                  <a:endParaRPr lang="de-DE"/>
                </a:p>
              </p:txBody>
            </p:sp>
            <p:sp>
              <p:nvSpPr>
                <p:cNvPr id="51" name="Freeform: Shape 50">
                  <a:extLst>
                    <a:ext uri="{FF2B5EF4-FFF2-40B4-BE49-F238E27FC236}">
                      <a16:creationId xmlns:a16="http://schemas.microsoft.com/office/drawing/2014/main" id="{F8A91324-31F6-20DA-00F9-71980BEA0B5D}"/>
                    </a:ext>
                  </a:extLst>
                </p:cNvPr>
                <p:cNvSpPr/>
                <p:nvPr/>
              </p:nvSpPr>
              <p:spPr>
                <a:xfrm>
                  <a:off x="1508236" y="3030024"/>
                  <a:ext cx="49379" cy="49832"/>
                </a:xfrm>
                <a:custGeom>
                  <a:avLst/>
                  <a:gdLst>
                    <a:gd name="connsiteX0" fmla="*/ 45816 w 49379"/>
                    <a:gd name="connsiteY0" fmla="*/ 6109 h 49832"/>
                    <a:gd name="connsiteX1" fmla="*/ 39198 w 49379"/>
                    <a:gd name="connsiteY1" fmla="*/ 22399 h 49832"/>
                    <a:gd name="connsiteX2" fmla="*/ 49379 w 49379"/>
                    <a:gd name="connsiteY2" fmla="*/ 37105 h 49832"/>
                    <a:gd name="connsiteX3" fmla="*/ 31562 w 49379"/>
                    <a:gd name="connsiteY3" fmla="*/ 36087 h 49832"/>
                    <a:gd name="connsiteX4" fmla="*/ 20872 w 49379"/>
                    <a:gd name="connsiteY4" fmla="*/ 49832 h 49832"/>
                    <a:gd name="connsiteX5" fmla="*/ 16799 w 49379"/>
                    <a:gd name="connsiteY5" fmla="*/ 33033 h 49832"/>
                    <a:gd name="connsiteX6" fmla="*/ 0 w 49379"/>
                    <a:gd name="connsiteY6" fmla="*/ 26924 h 49832"/>
                    <a:gd name="connsiteX7" fmla="*/ 14763 w 49379"/>
                    <a:gd name="connsiteY7" fmla="*/ 17817 h 49832"/>
                    <a:gd name="connsiteX8" fmla="*/ 15272 w 49379"/>
                    <a:gd name="connsiteY8" fmla="*/ 0 h 49832"/>
                    <a:gd name="connsiteX9" fmla="*/ 29017 w 49379"/>
                    <a:gd name="connsiteY9" fmla="*/ 11199 h 49832"/>
                    <a:gd name="connsiteX10" fmla="*/ 45816 w 49379"/>
                    <a:gd name="connsiteY10" fmla="*/ 6109 h 49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79" h="49832">
                      <a:moveTo>
                        <a:pt x="45816" y="6109"/>
                      </a:moveTo>
                      <a:lnTo>
                        <a:pt x="39198" y="22399"/>
                      </a:lnTo>
                      <a:lnTo>
                        <a:pt x="49379" y="37105"/>
                      </a:lnTo>
                      <a:lnTo>
                        <a:pt x="31562" y="36087"/>
                      </a:lnTo>
                      <a:lnTo>
                        <a:pt x="20872" y="49832"/>
                      </a:lnTo>
                      <a:lnTo>
                        <a:pt x="16799" y="33033"/>
                      </a:lnTo>
                      <a:lnTo>
                        <a:pt x="0" y="26924"/>
                      </a:lnTo>
                      <a:lnTo>
                        <a:pt x="14763" y="17817"/>
                      </a:lnTo>
                      <a:lnTo>
                        <a:pt x="15272" y="0"/>
                      </a:lnTo>
                      <a:lnTo>
                        <a:pt x="29017" y="11199"/>
                      </a:lnTo>
                      <a:lnTo>
                        <a:pt x="45816" y="6109"/>
                      </a:lnTo>
                      <a:close/>
                    </a:path>
                  </a:pathLst>
                </a:custGeom>
                <a:gradFill>
                  <a:gsLst>
                    <a:gs pos="2000">
                      <a:srgbClr val="FFFFFF">
                        <a:alpha val="0"/>
                      </a:srgbClr>
                    </a:gs>
                    <a:gs pos="100000">
                      <a:srgbClr val="FFFFFF"/>
                    </a:gs>
                  </a:gsLst>
                  <a:lin ang="5488410" scaled="1"/>
                </a:gradFill>
                <a:ln w="5647" cap="flat">
                  <a:noFill/>
                  <a:prstDash val="solid"/>
                  <a:miter/>
                </a:ln>
              </p:spPr>
              <p:txBody>
                <a:bodyPr rtlCol="0" anchor="ctr"/>
                <a:lstStyle/>
                <a:p>
                  <a:endParaRPr lang="de-DE"/>
                </a:p>
              </p:txBody>
            </p:sp>
            <p:sp>
              <p:nvSpPr>
                <p:cNvPr id="52" name="Freeform: Shape 51">
                  <a:extLst>
                    <a:ext uri="{FF2B5EF4-FFF2-40B4-BE49-F238E27FC236}">
                      <a16:creationId xmlns:a16="http://schemas.microsoft.com/office/drawing/2014/main" id="{6A9DB7BC-A8DF-B3F1-665C-64EA2C13E6C1}"/>
                    </a:ext>
                  </a:extLst>
                </p:cNvPr>
                <p:cNvSpPr/>
                <p:nvPr/>
              </p:nvSpPr>
              <p:spPr>
                <a:xfrm>
                  <a:off x="3343876" y="2802924"/>
                  <a:ext cx="49888" cy="47286"/>
                </a:xfrm>
                <a:custGeom>
                  <a:avLst/>
                  <a:gdLst>
                    <a:gd name="connsiteX0" fmla="*/ 24944 w 49888"/>
                    <a:gd name="connsiteY0" fmla="*/ 0 h 47286"/>
                    <a:gd name="connsiteX1" fmla="*/ 32580 w 49888"/>
                    <a:gd name="connsiteY1" fmla="*/ 15272 h 47286"/>
                    <a:gd name="connsiteX2" fmla="*/ 49888 w 49888"/>
                    <a:gd name="connsiteY2" fmla="*/ 17817 h 47286"/>
                    <a:gd name="connsiteX3" fmla="*/ 37162 w 49888"/>
                    <a:gd name="connsiteY3" fmla="*/ 29978 h 47286"/>
                    <a:gd name="connsiteX4" fmla="*/ 40216 w 49888"/>
                    <a:gd name="connsiteY4" fmla="*/ 47287 h 47286"/>
                    <a:gd name="connsiteX5" fmla="*/ 24944 w 49888"/>
                    <a:gd name="connsiteY5" fmla="*/ 39142 h 47286"/>
                    <a:gd name="connsiteX6" fmla="*/ 9163 w 49888"/>
                    <a:gd name="connsiteY6" fmla="*/ 47287 h 47286"/>
                    <a:gd name="connsiteX7" fmla="*/ 12217 w 49888"/>
                    <a:gd name="connsiteY7" fmla="*/ 29978 h 47286"/>
                    <a:gd name="connsiteX8" fmla="*/ 0 w 49888"/>
                    <a:gd name="connsiteY8" fmla="*/ 17817 h 47286"/>
                    <a:gd name="connsiteX9" fmla="*/ 16799 w 49888"/>
                    <a:gd name="connsiteY9" fmla="*/ 15272 h 47286"/>
                    <a:gd name="connsiteX10" fmla="*/ 24944 w 49888"/>
                    <a:gd name="connsiteY10" fmla="*/ 0 h 4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888" h="47286">
                      <a:moveTo>
                        <a:pt x="24944" y="0"/>
                      </a:moveTo>
                      <a:lnTo>
                        <a:pt x="32580" y="15272"/>
                      </a:lnTo>
                      <a:lnTo>
                        <a:pt x="49888" y="17817"/>
                      </a:lnTo>
                      <a:lnTo>
                        <a:pt x="37162" y="29978"/>
                      </a:lnTo>
                      <a:lnTo>
                        <a:pt x="40216" y="47287"/>
                      </a:lnTo>
                      <a:lnTo>
                        <a:pt x="24944" y="39142"/>
                      </a:lnTo>
                      <a:lnTo>
                        <a:pt x="9163" y="47287"/>
                      </a:lnTo>
                      <a:lnTo>
                        <a:pt x="12217" y="29978"/>
                      </a:lnTo>
                      <a:lnTo>
                        <a:pt x="0" y="17817"/>
                      </a:lnTo>
                      <a:lnTo>
                        <a:pt x="16799" y="15272"/>
                      </a:lnTo>
                      <a:lnTo>
                        <a:pt x="24944" y="0"/>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endParaRPr lang="de-DE"/>
                </a:p>
              </p:txBody>
            </p:sp>
            <p:sp>
              <p:nvSpPr>
                <p:cNvPr id="53" name="Freeform: Shape 52">
                  <a:extLst>
                    <a:ext uri="{FF2B5EF4-FFF2-40B4-BE49-F238E27FC236}">
                      <a16:creationId xmlns:a16="http://schemas.microsoft.com/office/drawing/2014/main" id="{F104C8B1-770F-B524-3775-25EE6A6FA962}"/>
                    </a:ext>
                  </a:extLst>
                </p:cNvPr>
                <p:cNvSpPr/>
                <p:nvPr/>
              </p:nvSpPr>
              <p:spPr>
                <a:xfrm>
                  <a:off x="3416163" y="2642907"/>
                  <a:ext cx="48813" cy="49775"/>
                </a:xfrm>
                <a:custGeom>
                  <a:avLst/>
                  <a:gdLst>
                    <a:gd name="connsiteX0" fmla="*/ 45250 w 48813"/>
                    <a:gd name="connsiteY0" fmla="*/ 6109 h 49775"/>
                    <a:gd name="connsiteX1" fmla="*/ 39198 w 48813"/>
                    <a:gd name="connsiteY1" fmla="*/ 22342 h 49775"/>
                    <a:gd name="connsiteX2" fmla="*/ 48814 w 48813"/>
                    <a:gd name="connsiteY2" fmla="*/ 36596 h 49775"/>
                    <a:gd name="connsiteX3" fmla="*/ 31562 w 48813"/>
                    <a:gd name="connsiteY3" fmla="*/ 35578 h 49775"/>
                    <a:gd name="connsiteX4" fmla="*/ 20872 w 48813"/>
                    <a:gd name="connsiteY4" fmla="*/ 49775 h 49775"/>
                    <a:gd name="connsiteX5" fmla="*/ 16290 w 48813"/>
                    <a:gd name="connsiteY5" fmla="*/ 32524 h 49775"/>
                    <a:gd name="connsiteX6" fmla="*/ 0 w 48813"/>
                    <a:gd name="connsiteY6" fmla="*/ 26924 h 49775"/>
                    <a:gd name="connsiteX7" fmla="*/ 14763 w 48813"/>
                    <a:gd name="connsiteY7" fmla="*/ 17252 h 49775"/>
                    <a:gd name="connsiteX8" fmla="*/ 15272 w 48813"/>
                    <a:gd name="connsiteY8" fmla="*/ 0 h 49775"/>
                    <a:gd name="connsiteX9" fmla="*/ 28508 w 48813"/>
                    <a:gd name="connsiteY9" fmla="*/ 11199 h 49775"/>
                    <a:gd name="connsiteX10" fmla="*/ 45250 w 48813"/>
                    <a:gd name="connsiteY10" fmla="*/ 6109 h 4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813" h="49775">
                      <a:moveTo>
                        <a:pt x="45250" y="6109"/>
                      </a:moveTo>
                      <a:lnTo>
                        <a:pt x="39198" y="22342"/>
                      </a:lnTo>
                      <a:lnTo>
                        <a:pt x="48814" y="36596"/>
                      </a:lnTo>
                      <a:lnTo>
                        <a:pt x="31562" y="35578"/>
                      </a:lnTo>
                      <a:lnTo>
                        <a:pt x="20872" y="49775"/>
                      </a:lnTo>
                      <a:lnTo>
                        <a:pt x="16290" y="32524"/>
                      </a:lnTo>
                      <a:lnTo>
                        <a:pt x="0" y="26924"/>
                      </a:lnTo>
                      <a:lnTo>
                        <a:pt x="14763" y="17252"/>
                      </a:lnTo>
                      <a:lnTo>
                        <a:pt x="15272" y="0"/>
                      </a:lnTo>
                      <a:lnTo>
                        <a:pt x="28508" y="11199"/>
                      </a:lnTo>
                      <a:lnTo>
                        <a:pt x="45250" y="6109"/>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endParaRPr lang="de-DE"/>
                </a:p>
              </p:txBody>
            </p:sp>
            <p:sp>
              <p:nvSpPr>
                <p:cNvPr id="54" name="Freeform: Shape 53">
                  <a:extLst>
                    <a:ext uri="{FF2B5EF4-FFF2-40B4-BE49-F238E27FC236}">
                      <a16:creationId xmlns:a16="http://schemas.microsoft.com/office/drawing/2014/main" id="{F6B8AA90-B130-F558-789A-8689C5313DD1}"/>
                    </a:ext>
                  </a:extLst>
                </p:cNvPr>
                <p:cNvSpPr/>
                <p:nvPr/>
              </p:nvSpPr>
              <p:spPr>
                <a:xfrm>
                  <a:off x="2343842" y="2962997"/>
                  <a:ext cx="36652" cy="36087"/>
                </a:xfrm>
                <a:custGeom>
                  <a:avLst/>
                  <a:gdLst>
                    <a:gd name="connsiteX0" fmla="*/ 36653 w 36652"/>
                    <a:gd name="connsiteY0" fmla="*/ 10125 h 36087"/>
                    <a:gd name="connsiteX1" fmla="*/ 28508 w 36652"/>
                    <a:gd name="connsiteY1" fmla="*/ 20306 h 36087"/>
                    <a:gd name="connsiteX2" fmla="*/ 32580 w 36652"/>
                    <a:gd name="connsiteY2" fmla="*/ 32524 h 36087"/>
                    <a:gd name="connsiteX3" fmla="*/ 20363 w 36652"/>
                    <a:gd name="connsiteY3" fmla="*/ 28451 h 36087"/>
                    <a:gd name="connsiteX4" fmla="*/ 10181 w 36652"/>
                    <a:gd name="connsiteY4" fmla="*/ 36087 h 36087"/>
                    <a:gd name="connsiteX5" fmla="*/ 10690 w 36652"/>
                    <a:gd name="connsiteY5" fmla="*/ 23361 h 36087"/>
                    <a:gd name="connsiteX6" fmla="*/ 0 w 36652"/>
                    <a:gd name="connsiteY6" fmla="*/ 15725 h 36087"/>
                    <a:gd name="connsiteX7" fmla="*/ 12218 w 36652"/>
                    <a:gd name="connsiteY7" fmla="*/ 12161 h 36087"/>
                    <a:gd name="connsiteX8" fmla="*/ 16290 w 36652"/>
                    <a:gd name="connsiteY8" fmla="*/ 0 h 36087"/>
                    <a:gd name="connsiteX9" fmla="*/ 23417 w 36652"/>
                    <a:gd name="connsiteY9" fmla="*/ 10634 h 36087"/>
                    <a:gd name="connsiteX10" fmla="*/ 36653 w 36652"/>
                    <a:gd name="connsiteY10" fmla="*/ 10125 h 3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6087">
                      <a:moveTo>
                        <a:pt x="36653" y="10125"/>
                      </a:moveTo>
                      <a:lnTo>
                        <a:pt x="28508" y="20306"/>
                      </a:lnTo>
                      <a:lnTo>
                        <a:pt x="32580" y="32524"/>
                      </a:lnTo>
                      <a:lnTo>
                        <a:pt x="20363" y="28451"/>
                      </a:lnTo>
                      <a:lnTo>
                        <a:pt x="10181" y="36087"/>
                      </a:lnTo>
                      <a:lnTo>
                        <a:pt x="10690" y="23361"/>
                      </a:lnTo>
                      <a:lnTo>
                        <a:pt x="0" y="15725"/>
                      </a:lnTo>
                      <a:lnTo>
                        <a:pt x="12218" y="12161"/>
                      </a:lnTo>
                      <a:lnTo>
                        <a:pt x="16290" y="0"/>
                      </a:lnTo>
                      <a:lnTo>
                        <a:pt x="23417" y="10634"/>
                      </a:lnTo>
                      <a:lnTo>
                        <a:pt x="36653" y="10125"/>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endParaRPr lang="de-DE"/>
                </a:p>
              </p:txBody>
            </p:sp>
            <p:sp>
              <p:nvSpPr>
                <p:cNvPr id="55" name="Freeform: Shape 54">
                  <a:extLst>
                    <a:ext uri="{FF2B5EF4-FFF2-40B4-BE49-F238E27FC236}">
                      <a16:creationId xmlns:a16="http://schemas.microsoft.com/office/drawing/2014/main" id="{145B7798-8E40-2A35-8480-7F2DD6A0F1E0}"/>
                    </a:ext>
                  </a:extLst>
                </p:cNvPr>
                <p:cNvSpPr/>
                <p:nvPr/>
              </p:nvSpPr>
              <p:spPr>
                <a:xfrm>
                  <a:off x="2475690" y="2960961"/>
                  <a:ext cx="36652" cy="35578"/>
                </a:xfrm>
                <a:custGeom>
                  <a:avLst/>
                  <a:gdLst>
                    <a:gd name="connsiteX0" fmla="*/ 36653 w 36652"/>
                    <a:gd name="connsiteY0" fmla="*/ 22852 h 35578"/>
                    <a:gd name="connsiteX1" fmla="*/ 23926 w 36652"/>
                    <a:gd name="connsiteY1" fmla="*/ 24379 h 35578"/>
                    <a:gd name="connsiteX2" fmla="*/ 17308 w 36652"/>
                    <a:gd name="connsiteY2" fmla="*/ 35578 h 35578"/>
                    <a:gd name="connsiteX3" fmla="*/ 12218 w 36652"/>
                    <a:gd name="connsiteY3" fmla="*/ 23361 h 35578"/>
                    <a:gd name="connsiteX4" fmla="*/ 0 w 36652"/>
                    <a:gd name="connsiteY4" fmla="*/ 21324 h 35578"/>
                    <a:gd name="connsiteX5" fmla="*/ 9163 w 36652"/>
                    <a:gd name="connsiteY5" fmla="*/ 12670 h 35578"/>
                    <a:gd name="connsiteX6" fmla="*/ 7636 w 36652"/>
                    <a:gd name="connsiteY6" fmla="*/ 0 h 35578"/>
                    <a:gd name="connsiteX7" fmla="*/ 18836 w 36652"/>
                    <a:gd name="connsiteY7" fmla="*/ 6618 h 35578"/>
                    <a:gd name="connsiteX8" fmla="*/ 30544 w 36652"/>
                    <a:gd name="connsiteY8" fmla="*/ 1018 h 35578"/>
                    <a:gd name="connsiteX9" fmla="*/ 27999 w 36652"/>
                    <a:gd name="connsiteY9" fmla="*/ 13688 h 35578"/>
                    <a:gd name="connsiteX10" fmla="*/ 36653 w 36652"/>
                    <a:gd name="connsiteY10" fmla="*/ 22852 h 3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5578">
                      <a:moveTo>
                        <a:pt x="36653" y="22852"/>
                      </a:moveTo>
                      <a:lnTo>
                        <a:pt x="23926" y="24379"/>
                      </a:lnTo>
                      <a:lnTo>
                        <a:pt x="17308" y="35578"/>
                      </a:lnTo>
                      <a:lnTo>
                        <a:pt x="12218" y="23361"/>
                      </a:lnTo>
                      <a:lnTo>
                        <a:pt x="0" y="21324"/>
                      </a:lnTo>
                      <a:lnTo>
                        <a:pt x="9163" y="12670"/>
                      </a:lnTo>
                      <a:lnTo>
                        <a:pt x="7636" y="0"/>
                      </a:lnTo>
                      <a:lnTo>
                        <a:pt x="18836" y="6618"/>
                      </a:lnTo>
                      <a:lnTo>
                        <a:pt x="30544" y="1018"/>
                      </a:lnTo>
                      <a:lnTo>
                        <a:pt x="27999" y="13688"/>
                      </a:lnTo>
                      <a:lnTo>
                        <a:pt x="36653" y="22852"/>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endParaRPr lang="de-DE"/>
                </a:p>
              </p:txBody>
            </p:sp>
            <p:sp>
              <p:nvSpPr>
                <p:cNvPr id="56" name="Freeform: Shape 55">
                  <a:extLst>
                    <a:ext uri="{FF2B5EF4-FFF2-40B4-BE49-F238E27FC236}">
                      <a16:creationId xmlns:a16="http://schemas.microsoft.com/office/drawing/2014/main" id="{B920B149-830D-01D6-1651-09962C7CD73C}"/>
                    </a:ext>
                  </a:extLst>
                </p:cNvPr>
                <p:cNvSpPr/>
                <p:nvPr/>
              </p:nvSpPr>
              <p:spPr>
                <a:xfrm>
                  <a:off x="3173904" y="3386711"/>
                  <a:ext cx="36143" cy="36087"/>
                </a:xfrm>
                <a:custGeom>
                  <a:avLst/>
                  <a:gdLst>
                    <a:gd name="connsiteX0" fmla="*/ 36144 w 36143"/>
                    <a:gd name="connsiteY0" fmla="*/ 10181 h 36087"/>
                    <a:gd name="connsiteX1" fmla="*/ 28508 w 36143"/>
                    <a:gd name="connsiteY1" fmla="*/ 20306 h 36087"/>
                    <a:gd name="connsiteX2" fmla="*/ 32580 w 36143"/>
                    <a:gd name="connsiteY2" fmla="*/ 32524 h 36087"/>
                    <a:gd name="connsiteX3" fmla="*/ 20363 w 36143"/>
                    <a:gd name="connsiteY3" fmla="*/ 28451 h 36087"/>
                    <a:gd name="connsiteX4" fmla="*/ 10181 w 36143"/>
                    <a:gd name="connsiteY4" fmla="*/ 36087 h 36087"/>
                    <a:gd name="connsiteX5" fmla="*/ 10181 w 36143"/>
                    <a:gd name="connsiteY5" fmla="*/ 23361 h 36087"/>
                    <a:gd name="connsiteX6" fmla="*/ 0 w 36143"/>
                    <a:gd name="connsiteY6" fmla="*/ 15725 h 36087"/>
                    <a:gd name="connsiteX7" fmla="*/ 12218 w 36143"/>
                    <a:gd name="connsiteY7" fmla="*/ 12218 h 36087"/>
                    <a:gd name="connsiteX8" fmla="*/ 16290 w 36143"/>
                    <a:gd name="connsiteY8" fmla="*/ 0 h 36087"/>
                    <a:gd name="connsiteX9" fmla="*/ 23417 w 36143"/>
                    <a:gd name="connsiteY9" fmla="*/ 10690 h 36087"/>
                    <a:gd name="connsiteX10" fmla="*/ 36144 w 36143"/>
                    <a:gd name="connsiteY10" fmla="*/ 10181 h 3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43" h="36087">
                      <a:moveTo>
                        <a:pt x="36144" y="10181"/>
                      </a:moveTo>
                      <a:lnTo>
                        <a:pt x="28508" y="20306"/>
                      </a:lnTo>
                      <a:lnTo>
                        <a:pt x="32580" y="32524"/>
                      </a:lnTo>
                      <a:lnTo>
                        <a:pt x="20363" y="28451"/>
                      </a:lnTo>
                      <a:lnTo>
                        <a:pt x="10181" y="36087"/>
                      </a:lnTo>
                      <a:lnTo>
                        <a:pt x="10181" y="23361"/>
                      </a:lnTo>
                      <a:lnTo>
                        <a:pt x="0" y="15725"/>
                      </a:lnTo>
                      <a:lnTo>
                        <a:pt x="12218" y="12218"/>
                      </a:lnTo>
                      <a:lnTo>
                        <a:pt x="16290" y="0"/>
                      </a:lnTo>
                      <a:lnTo>
                        <a:pt x="23417" y="10690"/>
                      </a:lnTo>
                      <a:lnTo>
                        <a:pt x="36144" y="10181"/>
                      </a:lnTo>
                      <a:close/>
                    </a:path>
                  </a:pathLst>
                </a:custGeom>
                <a:gradFill>
                  <a:gsLst>
                    <a:gs pos="2000">
                      <a:srgbClr val="FFFFFF">
                        <a:alpha val="0"/>
                      </a:srgbClr>
                    </a:gs>
                    <a:gs pos="100000">
                      <a:srgbClr val="FFFFFF"/>
                    </a:gs>
                  </a:gsLst>
                  <a:lin ang="5488412" scaled="1"/>
                </a:gradFill>
                <a:ln w="5647" cap="flat">
                  <a:noFill/>
                  <a:prstDash val="solid"/>
                  <a:miter/>
                </a:ln>
              </p:spPr>
              <p:txBody>
                <a:bodyPr rtlCol="0" anchor="ctr"/>
                <a:lstStyle/>
                <a:p>
                  <a:endParaRPr lang="de-DE"/>
                </a:p>
              </p:txBody>
            </p:sp>
            <p:sp>
              <p:nvSpPr>
                <p:cNvPr id="57" name="Freeform: Shape 56">
                  <a:extLst>
                    <a:ext uri="{FF2B5EF4-FFF2-40B4-BE49-F238E27FC236}">
                      <a16:creationId xmlns:a16="http://schemas.microsoft.com/office/drawing/2014/main" id="{0AD3762E-894E-A7F5-AF17-29723F5A536E}"/>
                    </a:ext>
                  </a:extLst>
                </p:cNvPr>
                <p:cNvSpPr/>
                <p:nvPr/>
              </p:nvSpPr>
              <p:spPr>
                <a:xfrm>
                  <a:off x="3305187" y="3384674"/>
                  <a:ext cx="36652" cy="35578"/>
                </a:xfrm>
                <a:custGeom>
                  <a:avLst/>
                  <a:gdLst>
                    <a:gd name="connsiteX0" fmla="*/ 36653 w 36652"/>
                    <a:gd name="connsiteY0" fmla="*/ 22852 h 35578"/>
                    <a:gd name="connsiteX1" fmla="*/ 23926 w 36652"/>
                    <a:gd name="connsiteY1" fmla="*/ 24379 h 35578"/>
                    <a:gd name="connsiteX2" fmla="*/ 17817 w 36652"/>
                    <a:gd name="connsiteY2" fmla="*/ 35578 h 35578"/>
                    <a:gd name="connsiteX3" fmla="*/ 12727 w 36652"/>
                    <a:gd name="connsiteY3" fmla="*/ 23870 h 35578"/>
                    <a:gd name="connsiteX4" fmla="*/ 0 w 36652"/>
                    <a:gd name="connsiteY4" fmla="*/ 21324 h 35578"/>
                    <a:gd name="connsiteX5" fmla="*/ 9672 w 36652"/>
                    <a:gd name="connsiteY5" fmla="*/ 12727 h 35578"/>
                    <a:gd name="connsiteX6" fmla="*/ 8145 w 36652"/>
                    <a:gd name="connsiteY6" fmla="*/ 0 h 35578"/>
                    <a:gd name="connsiteX7" fmla="*/ 19345 w 36652"/>
                    <a:gd name="connsiteY7" fmla="*/ 6618 h 35578"/>
                    <a:gd name="connsiteX8" fmla="*/ 31053 w 36652"/>
                    <a:gd name="connsiteY8" fmla="*/ 1018 h 35578"/>
                    <a:gd name="connsiteX9" fmla="*/ 27999 w 36652"/>
                    <a:gd name="connsiteY9" fmla="*/ 13745 h 35578"/>
                    <a:gd name="connsiteX10" fmla="*/ 36653 w 36652"/>
                    <a:gd name="connsiteY10" fmla="*/ 22852 h 3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5578">
                      <a:moveTo>
                        <a:pt x="36653" y="22852"/>
                      </a:moveTo>
                      <a:lnTo>
                        <a:pt x="23926" y="24379"/>
                      </a:lnTo>
                      <a:lnTo>
                        <a:pt x="17817" y="35578"/>
                      </a:lnTo>
                      <a:lnTo>
                        <a:pt x="12727" y="23870"/>
                      </a:lnTo>
                      <a:lnTo>
                        <a:pt x="0" y="21324"/>
                      </a:lnTo>
                      <a:lnTo>
                        <a:pt x="9672" y="12727"/>
                      </a:lnTo>
                      <a:lnTo>
                        <a:pt x="8145" y="0"/>
                      </a:lnTo>
                      <a:lnTo>
                        <a:pt x="19345" y="6618"/>
                      </a:lnTo>
                      <a:lnTo>
                        <a:pt x="31053" y="1018"/>
                      </a:lnTo>
                      <a:lnTo>
                        <a:pt x="27999" y="13745"/>
                      </a:lnTo>
                      <a:lnTo>
                        <a:pt x="36653" y="22852"/>
                      </a:lnTo>
                      <a:close/>
                    </a:path>
                  </a:pathLst>
                </a:custGeom>
                <a:gradFill>
                  <a:gsLst>
                    <a:gs pos="2000">
                      <a:srgbClr val="FFFFFF">
                        <a:alpha val="0"/>
                      </a:srgbClr>
                    </a:gs>
                    <a:gs pos="100000">
                      <a:srgbClr val="FFFFFF"/>
                    </a:gs>
                  </a:gsLst>
                  <a:lin ang="5488487" scaled="1"/>
                </a:gradFill>
                <a:ln w="5647" cap="flat">
                  <a:noFill/>
                  <a:prstDash val="solid"/>
                  <a:miter/>
                </a:ln>
              </p:spPr>
              <p:txBody>
                <a:bodyPr rtlCol="0" anchor="ctr"/>
                <a:lstStyle/>
                <a:p>
                  <a:endParaRPr lang="de-DE"/>
                </a:p>
              </p:txBody>
            </p:sp>
            <p:sp>
              <p:nvSpPr>
                <p:cNvPr id="58" name="Freeform: Shape 57">
                  <a:extLst>
                    <a:ext uri="{FF2B5EF4-FFF2-40B4-BE49-F238E27FC236}">
                      <a16:creationId xmlns:a16="http://schemas.microsoft.com/office/drawing/2014/main" id="{6DF68F6F-AF9B-C5FA-8EBF-59D428941A29}"/>
                    </a:ext>
                  </a:extLst>
                </p:cNvPr>
                <p:cNvSpPr/>
                <p:nvPr/>
              </p:nvSpPr>
              <p:spPr>
                <a:xfrm>
                  <a:off x="2850759" y="3225167"/>
                  <a:ext cx="36143" cy="36030"/>
                </a:xfrm>
                <a:custGeom>
                  <a:avLst/>
                  <a:gdLst>
                    <a:gd name="connsiteX0" fmla="*/ 36144 w 36143"/>
                    <a:gd name="connsiteY0" fmla="*/ 10634 h 36030"/>
                    <a:gd name="connsiteX1" fmla="*/ 28508 w 36143"/>
                    <a:gd name="connsiteY1" fmla="*/ 20815 h 36030"/>
                    <a:gd name="connsiteX2" fmla="*/ 32524 w 36143"/>
                    <a:gd name="connsiteY2" fmla="*/ 32976 h 36030"/>
                    <a:gd name="connsiteX3" fmla="*/ 20363 w 36143"/>
                    <a:gd name="connsiteY3" fmla="*/ 28451 h 36030"/>
                    <a:gd name="connsiteX4" fmla="*/ 9672 w 36143"/>
                    <a:gd name="connsiteY4" fmla="*/ 36031 h 36030"/>
                    <a:gd name="connsiteX5" fmla="*/ 10181 w 36143"/>
                    <a:gd name="connsiteY5" fmla="*/ 23361 h 36030"/>
                    <a:gd name="connsiteX6" fmla="*/ 0 w 36143"/>
                    <a:gd name="connsiteY6" fmla="*/ 15725 h 36030"/>
                    <a:gd name="connsiteX7" fmla="*/ 12218 w 36143"/>
                    <a:gd name="connsiteY7" fmla="*/ 12161 h 36030"/>
                    <a:gd name="connsiteX8" fmla="*/ 15781 w 36143"/>
                    <a:gd name="connsiteY8" fmla="*/ 0 h 36030"/>
                    <a:gd name="connsiteX9" fmla="*/ 23417 w 36143"/>
                    <a:gd name="connsiteY9" fmla="*/ 10634 h 36030"/>
                    <a:gd name="connsiteX10" fmla="*/ 36144 w 36143"/>
                    <a:gd name="connsiteY10" fmla="*/ 10634 h 3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43" h="36030">
                      <a:moveTo>
                        <a:pt x="36144" y="10634"/>
                      </a:moveTo>
                      <a:lnTo>
                        <a:pt x="28508" y="20815"/>
                      </a:lnTo>
                      <a:lnTo>
                        <a:pt x="32524" y="32976"/>
                      </a:lnTo>
                      <a:lnTo>
                        <a:pt x="20363" y="28451"/>
                      </a:lnTo>
                      <a:lnTo>
                        <a:pt x="9672" y="36031"/>
                      </a:lnTo>
                      <a:lnTo>
                        <a:pt x="10181" y="23361"/>
                      </a:lnTo>
                      <a:lnTo>
                        <a:pt x="0" y="15725"/>
                      </a:lnTo>
                      <a:lnTo>
                        <a:pt x="12218" y="12161"/>
                      </a:lnTo>
                      <a:lnTo>
                        <a:pt x="15781" y="0"/>
                      </a:lnTo>
                      <a:lnTo>
                        <a:pt x="23417" y="10634"/>
                      </a:lnTo>
                      <a:lnTo>
                        <a:pt x="36144" y="10634"/>
                      </a:lnTo>
                      <a:close/>
                    </a:path>
                  </a:pathLst>
                </a:custGeom>
                <a:gradFill>
                  <a:gsLst>
                    <a:gs pos="2000">
                      <a:srgbClr val="FFFFFF">
                        <a:alpha val="0"/>
                      </a:srgbClr>
                    </a:gs>
                    <a:gs pos="100000">
                      <a:srgbClr val="FFFFFF"/>
                    </a:gs>
                  </a:gsLst>
                  <a:lin ang="5488487" scaled="1"/>
                </a:gradFill>
                <a:ln w="5647" cap="flat">
                  <a:noFill/>
                  <a:prstDash val="solid"/>
                  <a:miter/>
                </a:ln>
              </p:spPr>
              <p:txBody>
                <a:bodyPr rtlCol="0" anchor="ctr"/>
                <a:lstStyle/>
                <a:p>
                  <a:endParaRPr lang="de-DE"/>
                </a:p>
              </p:txBody>
            </p:sp>
            <p:sp>
              <p:nvSpPr>
                <p:cNvPr id="59" name="Freeform: Shape 58">
                  <a:extLst>
                    <a:ext uri="{FF2B5EF4-FFF2-40B4-BE49-F238E27FC236}">
                      <a16:creationId xmlns:a16="http://schemas.microsoft.com/office/drawing/2014/main" id="{2C08AE09-C940-374D-1102-B6FF820D4AAE}"/>
                    </a:ext>
                  </a:extLst>
                </p:cNvPr>
                <p:cNvSpPr/>
                <p:nvPr/>
              </p:nvSpPr>
              <p:spPr>
                <a:xfrm>
                  <a:off x="2982042" y="3223130"/>
                  <a:ext cx="36652" cy="35521"/>
                </a:xfrm>
                <a:custGeom>
                  <a:avLst/>
                  <a:gdLst>
                    <a:gd name="connsiteX0" fmla="*/ 36653 w 36652"/>
                    <a:gd name="connsiteY0" fmla="*/ 23361 h 35521"/>
                    <a:gd name="connsiteX1" fmla="*/ 23926 w 36652"/>
                    <a:gd name="connsiteY1" fmla="*/ 24379 h 35521"/>
                    <a:gd name="connsiteX2" fmla="*/ 17817 w 36652"/>
                    <a:gd name="connsiteY2" fmla="*/ 35522 h 35521"/>
                    <a:gd name="connsiteX3" fmla="*/ 12727 w 36652"/>
                    <a:gd name="connsiteY3" fmla="*/ 23870 h 35521"/>
                    <a:gd name="connsiteX4" fmla="*/ 0 w 36652"/>
                    <a:gd name="connsiteY4" fmla="*/ 21324 h 35521"/>
                    <a:gd name="connsiteX5" fmla="*/ 9672 w 36652"/>
                    <a:gd name="connsiteY5" fmla="*/ 12670 h 35521"/>
                    <a:gd name="connsiteX6" fmla="*/ 8145 w 36652"/>
                    <a:gd name="connsiteY6" fmla="*/ 0 h 35521"/>
                    <a:gd name="connsiteX7" fmla="*/ 18835 w 36652"/>
                    <a:gd name="connsiteY7" fmla="*/ 6561 h 35521"/>
                    <a:gd name="connsiteX8" fmla="*/ 30544 w 36652"/>
                    <a:gd name="connsiteY8" fmla="*/ 1527 h 35521"/>
                    <a:gd name="connsiteX9" fmla="*/ 27999 w 36652"/>
                    <a:gd name="connsiteY9" fmla="*/ 13688 h 35521"/>
                    <a:gd name="connsiteX10" fmla="*/ 36653 w 36652"/>
                    <a:gd name="connsiteY10" fmla="*/ 23361 h 35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5521">
                      <a:moveTo>
                        <a:pt x="36653" y="23361"/>
                      </a:moveTo>
                      <a:lnTo>
                        <a:pt x="23926" y="24379"/>
                      </a:lnTo>
                      <a:lnTo>
                        <a:pt x="17817" y="35522"/>
                      </a:lnTo>
                      <a:lnTo>
                        <a:pt x="12727" y="23870"/>
                      </a:lnTo>
                      <a:lnTo>
                        <a:pt x="0" y="21324"/>
                      </a:lnTo>
                      <a:lnTo>
                        <a:pt x="9672" y="12670"/>
                      </a:lnTo>
                      <a:lnTo>
                        <a:pt x="8145" y="0"/>
                      </a:lnTo>
                      <a:lnTo>
                        <a:pt x="18835" y="6561"/>
                      </a:lnTo>
                      <a:lnTo>
                        <a:pt x="30544" y="1527"/>
                      </a:lnTo>
                      <a:lnTo>
                        <a:pt x="27999" y="13688"/>
                      </a:lnTo>
                      <a:lnTo>
                        <a:pt x="36653" y="23361"/>
                      </a:lnTo>
                      <a:close/>
                    </a:path>
                  </a:pathLst>
                </a:custGeom>
                <a:gradFill>
                  <a:gsLst>
                    <a:gs pos="2000">
                      <a:srgbClr val="FFFFFF">
                        <a:alpha val="0"/>
                      </a:srgbClr>
                    </a:gs>
                    <a:gs pos="100000">
                      <a:srgbClr val="FFFFFF"/>
                    </a:gs>
                  </a:gsLst>
                  <a:lin ang="5488487" scaled="1"/>
                </a:gradFill>
                <a:ln w="5647" cap="flat">
                  <a:noFill/>
                  <a:prstDash val="solid"/>
                  <a:miter/>
                </a:ln>
              </p:spPr>
              <p:txBody>
                <a:bodyPr rtlCol="0" anchor="ctr"/>
                <a:lstStyle/>
                <a:p>
                  <a:endParaRPr lang="de-DE"/>
                </a:p>
              </p:txBody>
            </p:sp>
            <p:sp>
              <p:nvSpPr>
                <p:cNvPr id="60" name="Freeform: Shape 59">
                  <a:extLst>
                    <a:ext uri="{FF2B5EF4-FFF2-40B4-BE49-F238E27FC236}">
                      <a16:creationId xmlns:a16="http://schemas.microsoft.com/office/drawing/2014/main" id="{857ED93E-A681-16F4-D3CA-45FB1D33D832}"/>
                    </a:ext>
                  </a:extLst>
                </p:cNvPr>
                <p:cNvSpPr/>
                <p:nvPr/>
              </p:nvSpPr>
              <p:spPr>
                <a:xfrm>
                  <a:off x="2572356" y="3221603"/>
                  <a:ext cx="36143" cy="36087"/>
                </a:xfrm>
                <a:custGeom>
                  <a:avLst/>
                  <a:gdLst>
                    <a:gd name="connsiteX0" fmla="*/ 36144 w 36143"/>
                    <a:gd name="connsiteY0" fmla="*/ 10125 h 36087"/>
                    <a:gd name="connsiteX1" fmla="*/ 28508 w 36143"/>
                    <a:gd name="connsiteY1" fmla="*/ 20306 h 36087"/>
                    <a:gd name="connsiteX2" fmla="*/ 32580 w 36143"/>
                    <a:gd name="connsiteY2" fmla="*/ 32524 h 36087"/>
                    <a:gd name="connsiteX3" fmla="*/ 20363 w 36143"/>
                    <a:gd name="connsiteY3" fmla="*/ 28451 h 36087"/>
                    <a:gd name="connsiteX4" fmla="*/ 10181 w 36143"/>
                    <a:gd name="connsiteY4" fmla="*/ 36087 h 36087"/>
                    <a:gd name="connsiteX5" fmla="*/ 10181 w 36143"/>
                    <a:gd name="connsiteY5" fmla="*/ 23361 h 36087"/>
                    <a:gd name="connsiteX6" fmla="*/ 0 w 36143"/>
                    <a:gd name="connsiteY6" fmla="*/ 15725 h 36087"/>
                    <a:gd name="connsiteX7" fmla="*/ 12218 w 36143"/>
                    <a:gd name="connsiteY7" fmla="*/ 12161 h 36087"/>
                    <a:gd name="connsiteX8" fmla="*/ 16290 w 36143"/>
                    <a:gd name="connsiteY8" fmla="*/ 0 h 36087"/>
                    <a:gd name="connsiteX9" fmla="*/ 23417 w 36143"/>
                    <a:gd name="connsiteY9" fmla="*/ 10125 h 36087"/>
                    <a:gd name="connsiteX10" fmla="*/ 36144 w 36143"/>
                    <a:gd name="connsiteY10" fmla="*/ 10125 h 3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43" h="36087">
                      <a:moveTo>
                        <a:pt x="36144" y="10125"/>
                      </a:moveTo>
                      <a:lnTo>
                        <a:pt x="28508" y="20306"/>
                      </a:lnTo>
                      <a:lnTo>
                        <a:pt x="32580" y="32524"/>
                      </a:lnTo>
                      <a:lnTo>
                        <a:pt x="20363" y="28451"/>
                      </a:lnTo>
                      <a:lnTo>
                        <a:pt x="10181" y="36087"/>
                      </a:lnTo>
                      <a:lnTo>
                        <a:pt x="10181" y="23361"/>
                      </a:lnTo>
                      <a:lnTo>
                        <a:pt x="0" y="15725"/>
                      </a:lnTo>
                      <a:lnTo>
                        <a:pt x="12218" y="12161"/>
                      </a:lnTo>
                      <a:lnTo>
                        <a:pt x="16290" y="0"/>
                      </a:lnTo>
                      <a:lnTo>
                        <a:pt x="23417" y="10125"/>
                      </a:lnTo>
                      <a:lnTo>
                        <a:pt x="36144" y="10125"/>
                      </a:lnTo>
                      <a:close/>
                    </a:path>
                  </a:pathLst>
                </a:custGeom>
                <a:gradFill>
                  <a:gsLst>
                    <a:gs pos="2000">
                      <a:srgbClr val="FFFFFF">
                        <a:alpha val="0"/>
                      </a:srgbClr>
                    </a:gs>
                    <a:gs pos="100000">
                      <a:srgbClr val="FFFFFF"/>
                    </a:gs>
                  </a:gsLst>
                  <a:lin ang="5488410" scaled="1"/>
                </a:gradFill>
                <a:ln w="5647" cap="flat">
                  <a:noFill/>
                  <a:prstDash val="solid"/>
                  <a:miter/>
                </a:ln>
              </p:spPr>
              <p:txBody>
                <a:bodyPr rtlCol="0" anchor="ctr"/>
                <a:lstStyle/>
                <a:p>
                  <a:endParaRPr lang="de-DE"/>
                </a:p>
              </p:txBody>
            </p:sp>
            <p:sp>
              <p:nvSpPr>
                <p:cNvPr id="61" name="Freeform: Shape 60">
                  <a:extLst>
                    <a:ext uri="{FF2B5EF4-FFF2-40B4-BE49-F238E27FC236}">
                      <a16:creationId xmlns:a16="http://schemas.microsoft.com/office/drawing/2014/main" id="{5E0137AA-42AA-1D11-81C9-8BF1A421DBCF}"/>
                    </a:ext>
                  </a:extLst>
                </p:cNvPr>
                <p:cNvSpPr/>
                <p:nvPr/>
              </p:nvSpPr>
              <p:spPr>
                <a:xfrm>
                  <a:off x="2238521" y="3438522"/>
                  <a:ext cx="36652" cy="35578"/>
                </a:xfrm>
                <a:custGeom>
                  <a:avLst/>
                  <a:gdLst>
                    <a:gd name="connsiteX0" fmla="*/ 36653 w 36652"/>
                    <a:gd name="connsiteY0" fmla="*/ 22851 h 35578"/>
                    <a:gd name="connsiteX1" fmla="*/ 23926 w 36652"/>
                    <a:gd name="connsiteY1" fmla="*/ 24379 h 35578"/>
                    <a:gd name="connsiteX2" fmla="*/ 17308 w 36652"/>
                    <a:gd name="connsiteY2" fmla="*/ 35578 h 35578"/>
                    <a:gd name="connsiteX3" fmla="*/ 12218 w 36652"/>
                    <a:gd name="connsiteY3" fmla="*/ 23361 h 35578"/>
                    <a:gd name="connsiteX4" fmla="*/ 0 w 36652"/>
                    <a:gd name="connsiteY4" fmla="*/ 21324 h 35578"/>
                    <a:gd name="connsiteX5" fmla="*/ 9672 w 36652"/>
                    <a:gd name="connsiteY5" fmla="*/ 12727 h 35578"/>
                    <a:gd name="connsiteX6" fmla="*/ 8145 w 36652"/>
                    <a:gd name="connsiteY6" fmla="*/ 0 h 35578"/>
                    <a:gd name="connsiteX7" fmla="*/ 18835 w 36652"/>
                    <a:gd name="connsiteY7" fmla="*/ 6618 h 35578"/>
                    <a:gd name="connsiteX8" fmla="*/ 30544 w 36652"/>
                    <a:gd name="connsiteY8" fmla="*/ 1018 h 35578"/>
                    <a:gd name="connsiteX9" fmla="*/ 27999 w 36652"/>
                    <a:gd name="connsiteY9" fmla="*/ 13745 h 35578"/>
                    <a:gd name="connsiteX10" fmla="*/ 36653 w 36652"/>
                    <a:gd name="connsiteY10" fmla="*/ 22851 h 3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5578">
                      <a:moveTo>
                        <a:pt x="36653" y="22851"/>
                      </a:moveTo>
                      <a:lnTo>
                        <a:pt x="23926" y="24379"/>
                      </a:lnTo>
                      <a:lnTo>
                        <a:pt x="17308" y="35578"/>
                      </a:lnTo>
                      <a:lnTo>
                        <a:pt x="12218" y="23361"/>
                      </a:lnTo>
                      <a:lnTo>
                        <a:pt x="0" y="21324"/>
                      </a:lnTo>
                      <a:lnTo>
                        <a:pt x="9672" y="12727"/>
                      </a:lnTo>
                      <a:lnTo>
                        <a:pt x="8145" y="0"/>
                      </a:lnTo>
                      <a:lnTo>
                        <a:pt x="18835" y="6618"/>
                      </a:lnTo>
                      <a:lnTo>
                        <a:pt x="30544" y="1018"/>
                      </a:lnTo>
                      <a:lnTo>
                        <a:pt x="27999" y="13745"/>
                      </a:lnTo>
                      <a:lnTo>
                        <a:pt x="36653" y="22851"/>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endParaRPr lang="de-DE"/>
                </a:p>
              </p:txBody>
            </p:sp>
            <p:sp>
              <p:nvSpPr>
                <p:cNvPr id="62" name="Freeform: Shape 61">
                  <a:extLst>
                    <a:ext uri="{FF2B5EF4-FFF2-40B4-BE49-F238E27FC236}">
                      <a16:creationId xmlns:a16="http://schemas.microsoft.com/office/drawing/2014/main" id="{89D95005-833A-C6EF-2F14-6EFA98A7F65D}"/>
                    </a:ext>
                  </a:extLst>
                </p:cNvPr>
                <p:cNvSpPr/>
                <p:nvPr/>
              </p:nvSpPr>
              <p:spPr>
                <a:xfrm>
                  <a:off x="1570342" y="3537112"/>
                  <a:ext cx="20306" cy="20306"/>
                </a:xfrm>
                <a:custGeom>
                  <a:avLst/>
                  <a:gdLst>
                    <a:gd name="connsiteX0" fmla="*/ 0 w 20306"/>
                    <a:gd name="connsiteY0" fmla="*/ 5091 h 20306"/>
                    <a:gd name="connsiteX1" fmla="*/ 7070 w 20306"/>
                    <a:gd name="connsiteY1" fmla="*/ 5543 h 20306"/>
                    <a:gd name="connsiteX2" fmla="*/ 11652 w 20306"/>
                    <a:gd name="connsiteY2" fmla="*/ 0 h 20306"/>
                    <a:gd name="connsiteX3" fmla="*/ 13179 w 20306"/>
                    <a:gd name="connsiteY3" fmla="*/ 7070 h 20306"/>
                    <a:gd name="connsiteX4" fmla="*/ 20306 w 20306"/>
                    <a:gd name="connsiteY4" fmla="*/ 9616 h 20306"/>
                    <a:gd name="connsiteX5" fmla="*/ 14197 w 20306"/>
                    <a:gd name="connsiteY5" fmla="*/ 13179 h 20306"/>
                    <a:gd name="connsiteX6" fmla="*/ 13688 w 20306"/>
                    <a:gd name="connsiteY6" fmla="*/ 20306 h 20306"/>
                    <a:gd name="connsiteX7" fmla="*/ 8089 w 20306"/>
                    <a:gd name="connsiteY7" fmla="*/ 15725 h 20306"/>
                    <a:gd name="connsiteX8" fmla="*/ 1471 w 20306"/>
                    <a:gd name="connsiteY8" fmla="*/ 17761 h 20306"/>
                    <a:gd name="connsiteX9" fmla="*/ 4016 w 20306"/>
                    <a:gd name="connsiteY9" fmla="*/ 11143 h 20306"/>
                    <a:gd name="connsiteX10" fmla="*/ 0 w 20306"/>
                    <a:gd name="connsiteY10" fmla="*/ 5091 h 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06" h="20306">
                      <a:moveTo>
                        <a:pt x="0" y="5091"/>
                      </a:moveTo>
                      <a:lnTo>
                        <a:pt x="7070" y="5543"/>
                      </a:lnTo>
                      <a:lnTo>
                        <a:pt x="11652" y="0"/>
                      </a:lnTo>
                      <a:lnTo>
                        <a:pt x="13179" y="7070"/>
                      </a:lnTo>
                      <a:lnTo>
                        <a:pt x="20306" y="9616"/>
                      </a:lnTo>
                      <a:lnTo>
                        <a:pt x="14197" y="13179"/>
                      </a:lnTo>
                      <a:lnTo>
                        <a:pt x="13688" y="20306"/>
                      </a:lnTo>
                      <a:lnTo>
                        <a:pt x="8089" y="15725"/>
                      </a:lnTo>
                      <a:lnTo>
                        <a:pt x="1471" y="17761"/>
                      </a:lnTo>
                      <a:lnTo>
                        <a:pt x="4016" y="11143"/>
                      </a:lnTo>
                      <a:lnTo>
                        <a:pt x="0" y="5091"/>
                      </a:lnTo>
                      <a:close/>
                    </a:path>
                  </a:pathLst>
                </a:custGeom>
                <a:gradFill>
                  <a:gsLst>
                    <a:gs pos="2000">
                      <a:srgbClr val="FFFFFF">
                        <a:alpha val="0"/>
                      </a:srgbClr>
                    </a:gs>
                    <a:gs pos="100000">
                      <a:srgbClr val="FFFFFF"/>
                    </a:gs>
                  </a:gsLst>
                  <a:lin ang="5488412" scaled="1"/>
                </a:gradFill>
                <a:ln w="5647" cap="flat">
                  <a:noFill/>
                  <a:prstDash val="solid"/>
                  <a:miter/>
                </a:ln>
              </p:spPr>
              <p:txBody>
                <a:bodyPr rtlCol="0" anchor="ctr"/>
                <a:lstStyle/>
                <a:p>
                  <a:endParaRPr lang="de-DE"/>
                </a:p>
              </p:txBody>
            </p:sp>
            <p:sp>
              <p:nvSpPr>
                <p:cNvPr id="63" name="Freeform: Shape 62">
                  <a:extLst>
                    <a:ext uri="{FF2B5EF4-FFF2-40B4-BE49-F238E27FC236}">
                      <a16:creationId xmlns:a16="http://schemas.microsoft.com/office/drawing/2014/main" id="{D0EFFB24-6865-4DDF-0591-13F46A1A824F}"/>
                    </a:ext>
                  </a:extLst>
                </p:cNvPr>
                <p:cNvSpPr/>
                <p:nvPr/>
              </p:nvSpPr>
              <p:spPr>
                <a:xfrm>
                  <a:off x="1527072" y="3477155"/>
                  <a:ext cx="19853" cy="20306"/>
                </a:xfrm>
                <a:custGeom>
                  <a:avLst/>
                  <a:gdLst>
                    <a:gd name="connsiteX0" fmla="*/ 8145 w 19853"/>
                    <a:gd name="connsiteY0" fmla="*/ 0 h 20306"/>
                    <a:gd name="connsiteX1" fmla="*/ 12727 w 19853"/>
                    <a:gd name="connsiteY1" fmla="*/ 5600 h 20306"/>
                    <a:gd name="connsiteX2" fmla="*/ 19854 w 19853"/>
                    <a:gd name="connsiteY2" fmla="*/ 5091 h 20306"/>
                    <a:gd name="connsiteX3" fmla="*/ 15781 w 19853"/>
                    <a:gd name="connsiteY3" fmla="*/ 11143 h 20306"/>
                    <a:gd name="connsiteX4" fmla="*/ 18326 w 19853"/>
                    <a:gd name="connsiteY4" fmla="*/ 17761 h 20306"/>
                    <a:gd name="connsiteX5" fmla="*/ 11709 w 19853"/>
                    <a:gd name="connsiteY5" fmla="*/ 15725 h 20306"/>
                    <a:gd name="connsiteX6" fmla="*/ 6109 w 19853"/>
                    <a:gd name="connsiteY6" fmla="*/ 20306 h 20306"/>
                    <a:gd name="connsiteX7" fmla="*/ 5600 w 19853"/>
                    <a:gd name="connsiteY7" fmla="*/ 13179 h 20306"/>
                    <a:gd name="connsiteX8" fmla="*/ 0 w 19853"/>
                    <a:gd name="connsiteY8" fmla="*/ 9107 h 20306"/>
                    <a:gd name="connsiteX9" fmla="*/ 6618 w 19853"/>
                    <a:gd name="connsiteY9" fmla="*/ 6618 h 20306"/>
                    <a:gd name="connsiteX10" fmla="*/ 8145 w 19853"/>
                    <a:gd name="connsiteY10" fmla="*/ 0 h 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853" h="20306">
                      <a:moveTo>
                        <a:pt x="8145" y="0"/>
                      </a:moveTo>
                      <a:lnTo>
                        <a:pt x="12727" y="5600"/>
                      </a:lnTo>
                      <a:lnTo>
                        <a:pt x="19854" y="5091"/>
                      </a:lnTo>
                      <a:lnTo>
                        <a:pt x="15781" y="11143"/>
                      </a:lnTo>
                      <a:lnTo>
                        <a:pt x="18326" y="17761"/>
                      </a:lnTo>
                      <a:lnTo>
                        <a:pt x="11709" y="15725"/>
                      </a:lnTo>
                      <a:lnTo>
                        <a:pt x="6109" y="20306"/>
                      </a:lnTo>
                      <a:lnTo>
                        <a:pt x="5600" y="13179"/>
                      </a:lnTo>
                      <a:lnTo>
                        <a:pt x="0" y="9107"/>
                      </a:lnTo>
                      <a:lnTo>
                        <a:pt x="6618" y="6618"/>
                      </a:lnTo>
                      <a:lnTo>
                        <a:pt x="8145" y="0"/>
                      </a:lnTo>
                      <a:close/>
                    </a:path>
                  </a:pathLst>
                </a:custGeom>
                <a:gradFill>
                  <a:gsLst>
                    <a:gs pos="2000">
                      <a:srgbClr val="FFFFFF">
                        <a:alpha val="0"/>
                      </a:srgbClr>
                    </a:gs>
                    <a:gs pos="100000">
                      <a:srgbClr val="FFFFFF"/>
                    </a:gs>
                  </a:gsLst>
                  <a:lin ang="5488410" scaled="1"/>
                </a:gradFill>
                <a:ln w="5647" cap="flat">
                  <a:noFill/>
                  <a:prstDash val="solid"/>
                  <a:miter/>
                </a:ln>
              </p:spPr>
              <p:txBody>
                <a:bodyPr rtlCol="0" anchor="ctr"/>
                <a:lstStyle/>
                <a:p>
                  <a:endParaRPr lang="de-DE"/>
                </a:p>
              </p:txBody>
            </p:sp>
            <p:sp>
              <p:nvSpPr>
                <p:cNvPr id="64" name="Freeform: Shape 63">
                  <a:extLst>
                    <a:ext uri="{FF2B5EF4-FFF2-40B4-BE49-F238E27FC236}">
                      <a16:creationId xmlns:a16="http://schemas.microsoft.com/office/drawing/2014/main" id="{CEBAA183-D4CC-DD65-BE62-E7E54A3BD28B}"/>
                    </a:ext>
                  </a:extLst>
                </p:cNvPr>
                <p:cNvSpPr/>
                <p:nvPr/>
              </p:nvSpPr>
              <p:spPr>
                <a:xfrm>
                  <a:off x="1613556" y="3300339"/>
                  <a:ext cx="19853" cy="20306"/>
                </a:xfrm>
                <a:custGeom>
                  <a:avLst/>
                  <a:gdLst>
                    <a:gd name="connsiteX0" fmla="*/ 0 w 19853"/>
                    <a:gd name="connsiteY0" fmla="*/ 5091 h 20306"/>
                    <a:gd name="connsiteX1" fmla="*/ 7127 w 19853"/>
                    <a:gd name="connsiteY1" fmla="*/ 5600 h 20306"/>
                    <a:gd name="connsiteX2" fmla="*/ 11709 w 19853"/>
                    <a:gd name="connsiteY2" fmla="*/ 0 h 20306"/>
                    <a:gd name="connsiteX3" fmla="*/ 13236 w 19853"/>
                    <a:gd name="connsiteY3" fmla="*/ 7127 h 20306"/>
                    <a:gd name="connsiteX4" fmla="*/ 19854 w 19853"/>
                    <a:gd name="connsiteY4" fmla="*/ 9672 h 20306"/>
                    <a:gd name="connsiteX5" fmla="*/ 13745 w 19853"/>
                    <a:gd name="connsiteY5" fmla="*/ 13236 h 20306"/>
                    <a:gd name="connsiteX6" fmla="*/ 13745 w 19853"/>
                    <a:gd name="connsiteY6" fmla="*/ 20306 h 20306"/>
                    <a:gd name="connsiteX7" fmla="*/ 8145 w 19853"/>
                    <a:gd name="connsiteY7" fmla="*/ 15725 h 20306"/>
                    <a:gd name="connsiteX8" fmla="*/ 1018 w 19853"/>
                    <a:gd name="connsiteY8" fmla="*/ 17761 h 20306"/>
                    <a:gd name="connsiteX9" fmla="*/ 4073 w 19853"/>
                    <a:gd name="connsiteY9" fmla="*/ 11200 h 20306"/>
                    <a:gd name="connsiteX10" fmla="*/ 0 w 19853"/>
                    <a:gd name="connsiteY10" fmla="*/ 5091 h 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853" h="20306">
                      <a:moveTo>
                        <a:pt x="0" y="5091"/>
                      </a:moveTo>
                      <a:lnTo>
                        <a:pt x="7127" y="5600"/>
                      </a:lnTo>
                      <a:lnTo>
                        <a:pt x="11709" y="0"/>
                      </a:lnTo>
                      <a:lnTo>
                        <a:pt x="13236" y="7127"/>
                      </a:lnTo>
                      <a:lnTo>
                        <a:pt x="19854" y="9672"/>
                      </a:lnTo>
                      <a:lnTo>
                        <a:pt x="13745" y="13236"/>
                      </a:lnTo>
                      <a:lnTo>
                        <a:pt x="13745" y="20306"/>
                      </a:lnTo>
                      <a:lnTo>
                        <a:pt x="8145" y="15725"/>
                      </a:lnTo>
                      <a:lnTo>
                        <a:pt x="1018" y="17761"/>
                      </a:lnTo>
                      <a:lnTo>
                        <a:pt x="4073" y="11200"/>
                      </a:lnTo>
                      <a:lnTo>
                        <a:pt x="0" y="5091"/>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endParaRPr lang="de-DE"/>
                </a:p>
              </p:txBody>
            </p:sp>
            <p:sp>
              <p:nvSpPr>
                <p:cNvPr id="65" name="Freeform: Shape 64">
                  <a:extLst>
                    <a:ext uri="{FF2B5EF4-FFF2-40B4-BE49-F238E27FC236}">
                      <a16:creationId xmlns:a16="http://schemas.microsoft.com/office/drawing/2014/main" id="{19111BB8-2244-2A67-8AF8-2CE978A6B969}"/>
                    </a:ext>
                  </a:extLst>
                </p:cNvPr>
                <p:cNvSpPr/>
                <p:nvPr/>
              </p:nvSpPr>
              <p:spPr>
                <a:xfrm>
                  <a:off x="1387078" y="3343553"/>
                  <a:ext cx="20362" cy="20306"/>
                </a:xfrm>
                <a:custGeom>
                  <a:avLst/>
                  <a:gdLst>
                    <a:gd name="connsiteX0" fmla="*/ 0 w 20362"/>
                    <a:gd name="connsiteY0" fmla="*/ 5034 h 20306"/>
                    <a:gd name="connsiteX1" fmla="*/ 7127 w 20362"/>
                    <a:gd name="connsiteY1" fmla="*/ 5543 h 20306"/>
                    <a:gd name="connsiteX2" fmla="*/ 11709 w 20362"/>
                    <a:gd name="connsiteY2" fmla="*/ 0 h 20306"/>
                    <a:gd name="connsiteX3" fmla="*/ 13236 w 20362"/>
                    <a:gd name="connsiteY3" fmla="*/ 6561 h 20306"/>
                    <a:gd name="connsiteX4" fmla="*/ 20363 w 20362"/>
                    <a:gd name="connsiteY4" fmla="*/ 9107 h 20306"/>
                    <a:gd name="connsiteX5" fmla="*/ 14254 w 20362"/>
                    <a:gd name="connsiteY5" fmla="*/ 13179 h 20306"/>
                    <a:gd name="connsiteX6" fmla="*/ 13745 w 20362"/>
                    <a:gd name="connsiteY6" fmla="*/ 20306 h 20306"/>
                    <a:gd name="connsiteX7" fmla="*/ 8145 w 20362"/>
                    <a:gd name="connsiteY7" fmla="*/ 15725 h 20306"/>
                    <a:gd name="connsiteX8" fmla="*/ 1527 w 20362"/>
                    <a:gd name="connsiteY8" fmla="*/ 17252 h 20306"/>
                    <a:gd name="connsiteX9" fmla="*/ 4073 w 20362"/>
                    <a:gd name="connsiteY9" fmla="*/ 11143 h 20306"/>
                    <a:gd name="connsiteX10" fmla="*/ 0 w 20362"/>
                    <a:gd name="connsiteY10" fmla="*/ 5034 h 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62" h="20306">
                      <a:moveTo>
                        <a:pt x="0" y="5034"/>
                      </a:moveTo>
                      <a:lnTo>
                        <a:pt x="7127" y="5543"/>
                      </a:lnTo>
                      <a:lnTo>
                        <a:pt x="11709" y="0"/>
                      </a:lnTo>
                      <a:lnTo>
                        <a:pt x="13236" y="6561"/>
                      </a:lnTo>
                      <a:lnTo>
                        <a:pt x="20363" y="9107"/>
                      </a:lnTo>
                      <a:lnTo>
                        <a:pt x="14254" y="13179"/>
                      </a:lnTo>
                      <a:lnTo>
                        <a:pt x="13745" y="20306"/>
                      </a:lnTo>
                      <a:lnTo>
                        <a:pt x="8145" y="15725"/>
                      </a:lnTo>
                      <a:lnTo>
                        <a:pt x="1527" y="17252"/>
                      </a:lnTo>
                      <a:lnTo>
                        <a:pt x="4073" y="11143"/>
                      </a:lnTo>
                      <a:lnTo>
                        <a:pt x="0" y="5034"/>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endParaRPr lang="de-DE"/>
                </a:p>
              </p:txBody>
            </p:sp>
          </p:grpSp>
          <p:sp>
            <p:nvSpPr>
              <p:cNvPr id="43" name="Freeform: Shape 42">
                <a:extLst>
                  <a:ext uri="{FF2B5EF4-FFF2-40B4-BE49-F238E27FC236}">
                    <a16:creationId xmlns:a16="http://schemas.microsoft.com/office/drawing/2014/main" id="{EFFA15BA-BCE5-C100-7ED9-59878D584690}"/>
                  </a:ext>
                </a:extLst>
              </p:cNvPr>
              <p:cNvSpPr/>
              <p:nvPr/>
            </p:nvSpPr>
            <p:spPr>
              <a:xfrm>
                <a:off x="1559086" y="3154010"/>
                <a:ext cx="20362" cy="20815"/>
              </a:xfrm>
              <a:custGeom>
                <a:avLst/>
                <a:gdLst>
                  <a:gd name="connsiteX0" fmla="*/ 8654 w 20362"/>
                  <a:gd name="connsiteY0" fmla="*/ 0 h 20815"/>
                  <a:gd name="connsiteX1" fmla="*/ 13236 w 20362"/>
                  <a:gd name="connsiteY1" fmla="*/ 6109 h 20815"/>
                  <a:gd name="connsiteX2" fmla="*/ 20363 w 20362"/>
                  <a:gd name="connsiteY2" fmla="*/ 5600 h 20815"/>
                  <a:gd name="connsiteX3" fmla="*/ 16290 w 20362"/>
                  <a:gd name="connsiteY3" fmla="*/ 11199 h 20815"/>
                  <a:gd name="connsiteX4" fmla="*/ 18835 w 20362"/>
                  <a:gd name="connsiteY4" fmla="*/ 17761 h 20815"/>
                  <a:gd name="connsiteX5" fmla="*/ 11765 w 20362"/>
                  <a:gd name="connsiteY5" fmla="*/ 16234 h 20815"/>
                  <a:gd name="connsiteX6" fmla="*/ 6674 w 20362"/>
                  <a:gd name="connsiteY6" fmla="*/ 20815 h 20815"/>
                  <a:gd name="connsiteX7" fmla="*/ 6165 w 20362"/>
                  <a:gd name="connsiteY7" fmla="*/ 13236 h 20815"/>
                  <a:gd name="connsiteX8" fmla="*/ 0 w 20362"/>
                  <a:gd name="connsiteY8" fmla="*/ 9672 h 20815"/>
                  <a:gd name="connsiteX9" fmla="*/ 6674 w 20362"/>
                  <a:gd name="connsiteY9" fmla="*/ 7127 h 20815"/>
                  <a:gd name="connsiteX10" fmla="*/ 8654 w 20362"/>
                  <a:gd name="connsiteY10" fmla="*/ 0 h 20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62" h="20815">
                    <a:moveTo>
                      <a:pt x="8654" y="0"/>
                    </a:moveTo>
                    <a:lnTo>
                      <a:pt x="13236" y="6109"/>
                    </a:lnTo>
                    <a:lnTo>
                      <a:pt x="20363" y="5600"/>
                    </a:lnTo>
                    <a:lnTo>
                      <a:pt x="16290" y="11199"/>
                    </a:lnTo>
                    <a:lnTo>
                      <a:pt x="18835" y="17761"/>
                    </a:lnTo>
                    <a:lnTo>
                      <a:pt x="11765" y="16234"/>
                    </a:lnTo>
                    <a:lnTo>
                      <a:pt x="6674" y="20815"/>
                    </a:lnTo>
                    <a:lnTo>
                      <a:pt x="6165" y="13236"/>
                    </a:lnTo>
                    <a:lnTo>
                      <a:pt x="0" y="9672"/>
                    </a:lnTo>
                    <a:lnTo>
                      <a:pt x="6674" y="7127"/>
                    </a:lnTo>
                    <a:lnTo>
                      <a:pt x="8654" y="0"/>
                    </a:lnTo>
                    <a:close/>
                  </a:path>
                </a:pathLst>
              </a:custGeom>
              <a:solidFill>
                <a:srgbClr val="B5EAFF"/>
              </a:solidFill>
              <a:ln w="5647" cap="flat">
                <a:noFill/>
                <a:prstDash val="solid"/>
                <a:miter/>
              </a:ln>
            </p:spPr>
            <p:txBody>
              <a:bodyPr rtlCol="0" anchor="ctr"/>
              <a:lstStyle/>
              <a:p>
                <a:endParaRPr lang="de-DE"/>
              </a:p>
            </p:txBody>
          </p:sp>
          <p:sp>
            <p:nvSpPr>
              <p:cNvPr id="44" name="Freeform: Shape 43">
                <a:extLst>
                  <a:ext uri="{FF2B5EF4-FFF2-40B4-BE49-F238E27FC236}">
                    <a16:creationId xmlns:a16="http://schemas.microsoft.com/office/drawing/2014/main" id="{0456C89A-5466-98FC-7347-08DF861E53D8}"/>
                  </a:ext>
                </a:extLst>
              </p:cNvPr>
              <p:cNvSpPr/>
              <p:nvPr/>
            </p:nvSpPr>
            <p:spPr>
              <a:xfrm>
                <a:off x="1927764" y="3302595"/>
                <a:ext cx="186535" cy="311086"/>
              </a:xfrm>
              <a:custGeom>
                <a:avLst/>
                <a:gdLst>
                  <a:gd name="connsiteX0" fmla="*/ 175119 w 186535"/>
                  <a:gd name="connsiteY0" fmla="*/ 195828 h 311086"/>
                  <a:gd name="connsiteX1" fmla="*/ 163806 w 186535"/>
                  <a:gd name="connsiteY1" fmla="*/ 203464 h 311086"/>
                  <a:gd name="connsiteX2" fmla="*/ 163806 w 186535"/>
                  <a:gd name="connsiteY2" fmla="*/ 203464 h 311086"/>
                  <a:gd name="connsiteX3" fmla="*/ 97684 w 186535"/>
                  <a:gd name="connsiteY3" fmla="*/ 237402 h 311086"/>
                  <a:gd name="connsiteX4" fmla="*/ 97402 w 186535"/>
                  <a:gd name="connsiteY4" fmla="*/ 262855 h 311086"/>
                  <a:gd name="connsiteX5" fmla="*/ 98929 w 186535"/>
                  <a:gd name="connsiteY5" fmla="*/ 277957 h 311086"/>
                  <a:gd name="connsiteX6" fmla="*/ 72986 w 186535"/>
                  <a:gd name="connsiteY6" fmla="*/ 310880 h 311086"/>
                  <a:gd name="connsiteX7" fmla="*/ 58599 w 186535"/>
                  <a:gd name="connsiteY7" fmla="*/ 309011 h 311086"/>
                  <a:gd name="connsiteX8" fmla="*/ 17308 w 186535"/>
                  <a:gd name="connsiteY8" fmla="*/ 292834 h 311086"/>
                  <a:gd name="connsiteX9" fmla="*/ 0 w 186535"/>
                  <a:gd name="connsiteY9" fmla="*/ 80892 h 311086"/>
                  <a:gd name="connsiteX10" fmla="*/ 168954 w 186535"/>
                  <a:gd name="connsiteY10" fmla="*/ 27553 h 311086"/>
                  <a:gd name="connsiteX11" fmla="*/ 175119 w 186535"/>
                  <a:gd name="connsiteY11" fmla="*/ 195828 h 31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535" h="311086">
                    <a:moveTo>
                      <a:pt x="175119" y="195828"/>
                    </a:moveTo>
                    <a:cubicBezTo>
                      <a:pt x="171670" y="198821"/>
                      <a:pt x="167872" y="201385"/>
                      <a:pt x="163806" y="203464"/>
                    </a:cubicBezTo>
                    <a:lnTo>
                      <a:pt x="163806" y="203464"/>
                    </a:lnTo>
                    <a:cubicBezTo>
                      <a:pt x="134281" y="219132"/>
                      <a:pt x="93951" y="215116"/>
                      <a:pt x="97684" y="237402"/>
                    </a:cubicBezTo>
                    <a:cubicBezTo>
                      <a:pt x="96347" y="245827"/>
                      <a:pt x="96251" y="254403"/>
                      <a:pt x="97402" y="262855"/>
                    </a:cubicBezTo>
                    <a:cubicBezTo>
                      <a:pt x="97684" y="267889"/>
                      <a:pt x="98363" y="272867"/>
                      <a:pt x="98929" y="277957"/>
                    </a:cubicBezTo>
                    <a:cubicBezTo>
                      <a:pt x="100856" y="294213"/>
                      <a:pt x="89241" y="308953"/>
                      <a:pt x="72986" y="310880"/>
                    </a:cubicBezTo>
                    <a:cubicBezTo>
                      <a:pt x="68109" y="311458"/>
                      <a:pt x="63166" y="310816"/>
                      <a:pt x="58599" y="309011"/>
                    </a:cubicBezTo>
                    <a:lnTo>
                      <a:pt x="17308" y="292834"/>
                    </a:lnTo>
                    <a:lnTo>
                      <a:pt x="0" y="80892"/>
                    </a:lnTo>
                    <a:cubicBezTo>
                      <a:pt x="0" y="80892"/>
                      <a:pt x="60013" y="-57292"/>
                      <a:pt x="168954" y="27553"/>
                    </a:cubicBezTo>
                    <a:cubicBezTo>
                      <a:pt x="168784" y="27723"/>
                      <a:pt x="204079" y="170884"/>
                      <a:pt x="175119" y="195828"/>
                    </a:cubicBezTo>
                    <a:close/>
                  </a:path>
                </a:pathLst>
              </a:custGeom>
              <a:gradFill>
                <a:gsLst>
                  <a:gs pos="0">
                    <a:srgbClr val="ECC4D7"/>
                  </a:gs>
                  <a:gs pos="42000">
                    <a:srgbClr val="EFD4D1"/>
                  </a:gs>
                  <a:gs pos="100000">
                    <a:srgbClr val="F2EAC9"/>
                  </a:gs>
                </a:gsLst>
                <a:lin ang="0" scaled="1"/>
              </a:gradFill>
              <a:ln w="5647" cap="flat">
                <a:noFill/>
                <a:prstDash val="solid"/>
                <a:miter/>
              </a:ln>
            </p:spPr>
            <p:txBody>
              <a:bodyPr rtlCol="0" anchor="ctr"/>
              <a:lstStyle/>
              <a:p>
                <a:endParaRPr lang="de-DE"/>
              </a:p>
            </p:txBody>
          </p:sp>
          <p:sp>
            <p:nvSpPr>
              <p:cNvPr id="45" name="Freeform: Shape 44">
                <a:extLst>
                  <a:ext uri="{FF2B5EF4-FFF2-40B4-BE49-F238E27FC236}">
                    <a16:creationId xmlns:a16="http://schemas.microsoft.com/office/drawing/2014/main" id="{EA640A19-60F0-26D2-F288-A7E007317118}"/>
                  </a:ext>
                </a:extLst>
              </p:cNvPr>
              <p:cNvSpPr/>
              <p:nvPr/>
            </p:nvSpPr>
            <p:spPr>
              <a:xfrm>
                <a:off x="1864922" y="4256028"/>
                <a:ext cx="338473" cy="785886"/>
              </a:xfrm>
              <a:custGeom>
                <a:avLst/>
                <a:gdLst>
                  <a:gd name="connsiteX0" fmla="*/ 293110 w 338473"/>
                  <a:gd name="connsiteY0" fmla="*/ 746802 h 785886"/>
                  <a:gd name="connsiteX1" fmla="*/ 338473 w 338473"/>
                  <a:gd name="connsiteY1" fmla="*/ 785887 h 785886"/>
                  <a:gd name="connsiteX2" fmla="*/ 218446 w 338473"/>
                  <a:gd name="connsiteY2" fmla="*/ 785887 h 785886"/>
                  <a:gd name="connsiteX3" fmla="*/ 168954 w 338473"/>
                  <a:gd name="connsiteY3" fmla="*/ 193502 h 785886"/>
                  <a:gd name="connsiteX4" fmla="*/ 143048 w 338473"/>
                  <a:gd name="connsiteY4" fmla="*/ 785887 h 785886"/>
                  <a:gd name="connsiteX5" fmla="*/ 19401 w 338473"/>
                  <a:gd name="connsiteY5" fmla="*/ 785887 h 785886"/>
                  <a:gd name="connsiteX6" fmla="*/ 56506 w 338473"/>
                  <a:gd name="connsiteY6" fmla="*/ 760547 h 785886"/>
                  <a:gd name="connsiteX7" fmla="*/ 0 w 338473"/>
                  <a:gd name="connsiteY7" fmla="*/ 32015 h 785886"/>
                  <a:gd name="connsiteX8" fmla="*/ 88125 w 338473"/>
                  <a:gd name="connsiteY8" fmla="*/ 23700 h 785886"/>
                  <a:gd name="connsiteX9" fmla="*/ 338473 w 338473"/>
                  <a:gd name="connsiteY9" fmla="*/ 0 h 785886"/>
                  <a:gd name="connsiteX10" fmla="*/ 293110 w 338473"/>
                  <a:gd name="connsiteY10" fmla="*/ 746802 h 78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8473" h="785886">
                    <a:moveTo>
                      <a:pt x="293110" y="746802"/>
                    </a:moveTo>
                    <a:lnTo>
                      <a:pt x="338473" y="785887"/>
                    </a:lnTo>
                    <a:lnTo>
                      <a:pt x="218446" y="785887"/>
                    </a:lnTo>
                    <a:lnTo>
                      <a:pt x="168954" y="193502"/>
                    </a:lnTo>
                    <a:lnTo>
                      <a:pt x="143048" y="785887"/>
                    </a:lnTo>
                    <a:lnTo>
                      <a:pt x="19401" y="785887"/>
                    </a:lnTo>
                    <a:lnTo>
                      <a:pt x="56506" y="760547"/>
                    </a:lnTo>
                    <a:lnTo>
                      <a:pt x="0" y="32015"/>
                    </a:lnTo>
                    <a:lnTo>
                      <a:pt x="88125" y="23700"/>
                    </a:lnTo>
                    <a:lnTo>
                      <a:pt x="338473" y="0"/>
                    </a:lnTo>
                    <a:lnTo>
                      <a:pt x="293110" y="746802"/>
                    </a:lnTo>
                    <a:close/>
                  </a:path>
                </a:pathLst>
              </a:custGeom>
              <a:solidFill>
                <a:srgbClr val="0B274F"/>
              </a:solidFill>
              <a:ln w="5647" cap="flat">
                <a:noFill/>
                <a:prstDash val="solid"/>
                <a:miter/>
              </a:ln>
            </p:spPr>
            <p:txBody>
              <a:bodyPr rtlCol="0" anchor="ctr"/>
              <a:lstStyle/>
              <a:p>
                <a:endParaRPr lang="de-DE"/>
              </a:p>
            </p:txBody>
          </p:sp>
          <p:sp>
            <p:nvSpPr>
              <p:cNvPr id="46" name="Freeform: Shape 45">
                <a:extLst>
                  <a:ext uri="{FF2B5EF4-FFF2-40B4-BE49-F238E27FC236}">
                    <a16:creationId xmlns:a16="http://schemas.microsoft.com/office/drawing/2014/main" id="{399FE99E-B909-A2B3-ABB6-458395437AA4}"/>
                  </a:ext>
                </a:extLst>
              </p:cNvPr>
              <p:cNvSpPr/>
              <p:nvPr/>
            </p:nvSpPr>
            <p:spPr>
              <a:xfrm>
                <a:off x="1864922" y="4256028"/>
                <a:ext cx="338473" cy="785886"/>
              </a:xfrm>
              <a:custGeom>
                <a:avLst/>
                <a:gdLst>
                  <a:gd name="connsiteX0" fmla="*/ 293110 w 338473"/>
                  <a:gd name="connsiteY0" fmla="*/ 746802 h 785886"/>
                  <a:gd name="connsiteX1" fmla="*/ 338473 w 338473"/>
                  <a:gd name="connsiteY1" fmla="*/ 785887 h 785886"/>
                  <a:gd name="connsiteX2" fmla="*/ 218446 w 338473"/>
                  <a:gd name="connsiteY2" fmla="*/ 785887 h 785886"/>
                  <a:gd name="connsiteX3" fmla="*/ 168954 w 338473"/>
                  <a:gd name="connsiteY3" fmla="*/ 193502 h 785886"/>
                  <a:gd name="connsiteX4" fmla="*/ 143048 w 338473"/>
                  <a:gd name="connsiteY4" fmla="*/ 785887 h 785886"/>
                  <a:gd name="connsiteX5" fmla="*/ 19401 w 338473"/>
                  <a:gd name="connsiteY5" fmla="*/ 785887 h 785886"/>
                  <a:gd name="connsiteX6" fmla="*/ 56506 w 338473"/>
                  <a:gd name="connsiteY6" fmla="*/ 760547 h 785886"/>
                  <a:gd name="connsiteX7" fmla="*/ 0 w 338473"/>
                  <a:gd name="connsiteY7" fmla="*/ 32015 h 785886"/>
                  <a:gd name="connsiteX8" fmla="*/ 88125 w 338473"/>
                  <a:gd name="connsiteY8" fmla="*/ 23700 h 785886"/>
                  <a:gd name="connsiteX9" fmla="*/ 338473 w 338473"/>
                  <a:gd name="connsiteY9" fmla="*/ 0 h 785886"/>
                  <a:gd name="connsiteX10" fmla="*/ 293110 w 338473"/>
                  <a:gd name="connsiteY10" fmla="*/ 746802 h 78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8473" h="785886">
                    <a:moveTo>
                      <a:pt x="293110" y="746802"/>
                    </a:moveTo>
                    <a:lnTo>
                      <a:pt x="338473" y="785887"/>
                    </a:lnTo>
                    <a:lnTo>
                      <a:pt x="218446" y="785887"/>
                    </a:lnTo>
                    <a:lnTo>
                      <a:pt x="168954" y="193502"/>
                    </a:lnTo>
                    <a:lnTo>
                      <a:pt x="143048" y="785887"/>
                    </a:lnTo>
                    <a:lnTo>
                      <a:pt x="19401" y="785887"/>
                    </a:lnTo>
                    <a:lnTo>
                      <a:pt x="56506" y="760547"/>
                    </a:lnTo>
                    <a:lnTo>
                      <a:pt x="0" y="32015"/>
                    </a:lnTo>
                    <a:lnTo>
                      <a:pt x="88125" y="23700"/>
                    </a:lnTo>
                    <a:lnTo>
                      <a:pt x="338473" y="0"/>
                    </a:lnTo>
                    <a:lnTo>
                      <a:pt x="293110" y="746802"/>
                    </a:lnTo>
                    <a:close/>
                  </a:path>
                </a:pathLst>
              </a:custGeom>
              <a:solidFill>
                <a:schemeClr val="tx2"/>
              </a:solidFill>
              <a:ln w="5647" cap="flat">
                <a:noFill/>
                <a:prstDash val="solid"/>
                <a:miter/>
              </a:ln>
            </p:spPr>
            <p:txBody>
              <a:bodyPr rtlCol="0" anchor="ctr"/>
              <a:lstStyle/>
              <a:p>
                <a:endParaRPr lang="de-DE"/>
              </a:p>
            </p:txBody>
          </p:sp>
          <p:sp>
            <p:nvSpPr>
              <p:cNvPr id="47" name="Freeform: Shape 46">
                <a:extLst>
                  <a:ext uri="{FF2B5EF4-FFF2-40B4-BE49-F238E27FC236}">
                    <a16:creationId xmlns:a16="http://schemas.microsoft.com/office/drawing/2014/main" id="{03B1BA2D-64F1-4986-323C-B5212844E020}"/>
                  </a:ext>
                </a:extLst>
              </p:cNvPr>
              <p:cNvSpPr/>
              <p:nvPr/>
            </p:nvSpPr>
            <p:spPr>
              <a:xfrm>
                <a:off x="1926946" y="3263316"/>
                <a:ext cx="181894" cy="205184"/>
              </a:xfrm>
              <a:custGeom>
                <a:avLst/>
                <a:gdLst>
                  <a:gd name="connsiteX0" fmla="*/ 169602 w 181894"/>
                  <a:gd name="connsiteY0" fmla="*/ 67001 h 205184"/>
                  <a:gd name="connsiteX1" fmla="*/ 178256 w 181894"/>
                  <a:gd name="connsiteY1" fmla="*/ 21751 h 205184"/>
                  <a:gd name="connsiteX2" fmla="*/ 127349 w 181894"/>
                  <a:gd name="connsiteY2" fmla="*/ 1953 h 205184"/>
                  <a:gd name="connsiteX3" fmla="*/ 62189 w 181894"/>
                  <a:gd name="connsiteY3" fmla="*/ 1953 h 205184"/>
                  <a:gd name="connsiteX4" fmla="*/ 6248 w 181894"/>
                  <a:gd name="connsiteY4" fmla="*/ 65983 h 205184"/>
                  <a:gd name="connsiteX5" fmla="*/ 1666 w 181894"/>
                  <a:gd name="connsiteY5" fmla="*/ 119322 h 205184"/>
                  <a:gd name="connsiteX6" fmla="*/ 6248 w 181894"/>
                  <a:gd name="connsiteY6" fmla="*/ 205184 h 205184"/>
                  <a:gd name="connsiteX7" fmla="*/ 29665 w 181894"/>
                  <a:gd name="connsiteY7" fmla="*/ 171247 h 205184"/>
                  <a:gd name="connsiteX8" fmla="*/ 17447 w 181894"/>
                  <a:gd name="connsiteY8" fmla="*/ 125996 h 205184"/>
                  <a:gd name="connsiteX9" fmla="*/ 35774 w 181894"/>
                  <a:gd name="connsiteY9" fmla="*/ 132105 h 205184"/>
                  <a:gd name="connsiteX10" fmla="*/ 46408 w 181894"/>
                  <a:gd name="connsiteY10" fmla="*/ 81198 h 205184"/>
                  <a:gd name="connsiteX11" fmla="*/ 169602 w 181894"/>
                  <a:gd name="connsiteY11" fmla="*/ 67001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894" h="205184">
                    <a:moveTo>
                      <a:pt x="169602" y="67001"/>
                    </a:moveTo>
                    <a:cubicBezTo>
                      <a:pt x="181868" y="55321"/>
                      <a:pt x="185347" y="37132"/>
                      <a:pt x="178256" y="21751"/>
                    </a:cubicBezTo>
                    <a:cubicBezTo>
                      <a:pt x="168075" y="-9189"/>
                      <a:pt x="127349" y="1953"/>
                      <a:pt x="127349" y="1953"/>
                    </a:cubicBezTo>
                    <a:lnTo>
                      <a:pt x="62189" y="1953"/>
                    </a:lnTo>
                    <a:cubicBezTo>
                      <a:pt x="35884" y="15157"/>
                      <a:pt x="15801" y="38144"/>
                      <a:pt x="6248" y="65983"/>
                    </a:cubicBezTo>
                    <a:cubicBezTo>
                      <a:pt x="-32" y="83031"/>
                      <a:pt x="-1614" y="101453"/>
                      <a:pt x="1666" y="119322"/>
                    </a:cubicBezTo>
                    <a:lnTo>
                      <a:pt x="6248" y="205184"/>
                    </a:lnTo>
                    <a:lnTo>
                      <a:pt x="29665" y="171247"/>
                    </a:lnTo>
                    <a:cubicBezTo>
                      <a:pt x="29665" y="171247"/>
                      <a:pt x="7040" y="136178"/>
                      <a:pt x="17447" y="125996"/>
                    </a:cubicBezTo>
                    <a:cubicBezTo>
                      <a:pt x="27855" y="115815"/>
                      <a:pt x="35774" y="132105"/>
                      <a:pt x="35774" y="132105"/>
                    </a:cubicBezTo>
                    <a:cubicBezTo>
                      <a:pt x="35774" y="132105"/>
                      <a:pt x="35774" y="84818"/>
                      <a:pt x="46408" y="81198"/>
                    </a:cubicBezTo>
                    <a:cubicBezTo>
                      <a:pt x="57041" y="77578"/>
                      <a:pt x="169602" y="67001"/>
                      <a:pt x="169602" y="67001"/>
                    </a:cubicBezTo>
                    <a:close/>
                  </a:path>
                </a:pathLst>
              </a:custGeom>
              <a:solidFill>
                <a:schemeClr val="tx2"/>
              </a:solidFill>
              <a:ln w="5647" cap="flat">
                <a:noFill/>
                <a:prstDash val="solid"/>
                <a:miter/>
              </a:ln>
            </p:spPr>
            <p:txBody>
              <a:bodyPr rtlCol="0" anchor="ctr"/>
              <a:lstStyle/>
              <a:p>
                <a:endParaRPr lang="de-DE"/>
              </a:p>
            </p:txBody>
          </p:sp>
          <p:sp>
            <p:nvSpPr>
              <p:cNvPr id="48" name="Freeform: Shape 47">
                <a:extLst>
                  <a:ext uri="{FF2B5EF4-FFF2-40B4-BE49-F238E27FC236}">
                    <a16:creationId xmlns:a16="http://schemas.microsoft.com/office/drawing/2014/main" id="{24853C01-89E6-D1FD-9673-396EBB9261B5}"/>
                  </a:ext>
                </a:extLst>
              </p:cNvPr>
              <p:cNvSpPr/>
              <p:nvPr/>
            </p:nvSpPr>
            <p:spPr>
              <a:xfrm>
                <a:off x="2033933" y="4423681"/>
                <a:ext cx="52434" cy="618290"/>
              </a:xfrm>
              <a:custGeom>
                <a:avLst/>
                <a:gdLst>
                  <a:gd name="connsiteX0" fmla="*/ 0 w 52434"/>
                  <a:gd name="connsiteY0" fmla="*/ 25906 h 618290"/>
                  <a:gd name="connsiteX1" fmla="*/ 26472 w 52434"/>
                  <a:gd name="connsiteY1" fmla="*/ 0 h 618290"/>
                  <a:gd name="connsiteX2" fmla="*/ 52434 w 52434"/>
                  <a:gd name="connsiteY2" fmla="*/ 292600 h 618290"/>
                  <a:gd name="connsiteX3" fmla="*/ 45816 w 52434"/>
                  <a:gd name="connsiteY3" fmla="*/ 618290 h 618290"/>
                  <a:gd name="connsiteX4" fmla="*/ 0 w 52434"/>
                  <a:gd name="connsiteY4" fmla="*/ 25906 h 61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34" h="618290">
                    <a:moveTo>
                      <a:pt x="0" y="25906"/>
                    </a:moveTo>
                    <a:lnTo>
                      <a:pt x="26472" y="0"/>
                    </a:lnTo>
                    <a:lnTo>
                      <a:pt x="52434" y="292600"/>
                    </a:lnTo>
                    <a:lnTo>
                      <a:pt x="45816" y="618290"/>
                    </a:lnTo>
                    <a:lnTo>
                      <a:pt x="0" y="25906"/>
                    </a:lnTo>
                    <a:close/>
                  </a:path>
                </a:pathLst>
              </a:custGeom>
              <a:gradFill>
                <a:gsLst>
                  <a:gs pos="36000">
                    <a:srgbClr val="00272E"/>
                  </a:gs>
                  <a:gs pos="75000">
                    <a:srgbClr val="3F80A1">
                      <a:alpha val="24706"/>
                    </a:srgbClr>
                  </a:gs>
                  <a:gs pos="100000">
                    <a:srgbClr val="69B9EB">
                      <a:alpha val="0"/>
                    </a:srgbClr>
                  </a:gs>
                </a:gsLst>
                <a:lin ang="8088900" scaled="1"/>
              </a:gradFill>
              <a:ln w="5647" cap="flat">
                <a:noFill/>
                <a:prstDash val="solid"/>
                <a:miter/>
              </a:ln>
            </p:spPr>
            <p:txBody>
              <a:bodyPr rtlCol="0" anchor="ctr"/>
              <a:lstStyle/>
              <a:p>
                <a:endParaRPr lang="de-DE"/>
              </a:p>
            </p:txBody>
          </p:sp>
          <p:sp>
            <p:nvSpPr>
              <p:cNvPr id="49" name="Freeform: Shape 48">
                <a:extLst>
                  <a:ext uri="{FF2B5EF4-FFF2-40B4-BE49-F238E27FC236}">
                    <a16:creationId xmlns:a16="http://schemas.microsoft.com/office/drawing/2014/main" id="{71431905-1877-1F94-EAC6-6AFB2E7406C1}"/>
                  </a:ext>
                </a:extLst>
              </p:cNvPr>
              <p:cNvSpPr/>
              <p:nvPr/>
            </p:nvSpPr>
            <p:spPr>
              <a:xfrm>
                <a:off x="2390294" y="3135232"/>
                <a:ext cx="35507" cy="568118"/>
              </a:xfrm>
              <a:custGeom>
                <a:avLst/>
                <a:gdLst>
                  <a:gd name="connsiteX0" fmla="*/ 891 w 35507"/>
                  <a:gd name="connsiteY0" fmla="*/ 523264 h 568118"/>
                  <a:gd name="connsiteX1" fmla="*/ 25835 w 35507"/>
                  <a:gd name="connsiteY1" fmla="*/ 0 h 568118"/>
                  <a:gd name="connsiteX2" fmla="*/ 35507 w 35507"/>
                  <a:gd name="connsiteY2" fmla="*/ 0 h 568118"/>
                  <a:gd name="connsiteX3" fmla="*/ 10563 w 35507"/>
                  <a:gd name="connsiteY3" fmla="*/ 562915 h 568118"/>
                  <a:gd name="connsiteX4" fmla="*/ 891 w 35507"/>
                  <a:gd name="connsiteY4" fmla="*/ 562915 h 568118"/>
                  <a:gd name="connsiteX5" fmla="*/ 891 w 35507"/>
                  <a:gd name="connsiteY5" fmla="*/ 523264 h 56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07" h="568118">
                    <a:moveTo>
                      <a:pt x="891" y="523264"/>
                    </a:moveTo>
                    <a:lnTo>
                      <a:pt x="25835" y="0"/>
                    </a:lnTo>
                    <a:lnTo>
                      <a:pt x="35507" y="0"/>
                    </a:lnTo>
                    <a:lnTo>
                      <a:pt x="10563" y="562915"/>
                    </a:lnTo>
                    <a:cubicBezTo>
                      <a:pt x="10563" y="562915"/>
                      <a:pt x="3436" y="574624"/>
                      <a:pt x="891" y="562915"/>
                    </a:cubicBezTo>
                    <a:cubicBezTo>
                      <a:pt x="-297" y="549725"/>
                      <a:pt x="-297" y="536455"/>
                      <a:pt x="891" y="523264"/>
                    </a:cubicBezTo>
                    <a:close/>
                  </a:path>
                </a:pathLst>
              </a:custGeom>
              <a:solidFill>
                <a:srgbClr val="1D3945"/>
              </a:solidFill>
              <a:ln w="5647" cap="flat">
                <a:noFill/>
                <a:prstDash val="solid"/>
                <a:miter/>
              </a:ln>
            </p:spPr>
            <p:txBody>
              <a:bodyPr rtlCol="0" anchor="ctr"/>
              <a:lstStyle/>
              <a:p>
                <a:endParaRPr lang="de-DE"/>
              </a:p>
            </p:txBody>
          </p:sp>
        </p:grpSp>
        <p:sp>
          <p:nvSpPr>
            <p:cNvPr id="24" name="Freeform: Shape 23">
              <a:extLst>
                <a:ext uri="{FF2B5EF4-FFF2-40B4-BE49-F238E27FC236}">
                  <a16:creationId xmlns:a16="http://schemas.microsoft.com/office/drawing/2014/main" id="{620D1741-108D-4A88-14A9-CF830FA22C01}"/>
                </a:ext>
              </a:extLst>
            </p:cNvPr>
            <p:cNvSpPr/>
            <p:nvPr/>
          </p:nvSpPr>
          <p:spPr>
            <a:xfrm>
              <a:off x="529074" y="2079766"/>
              <a:ext cx="5656" cy="5656"/>
            </a:xfrm>
            <a:custGeom>
              <a:avLst/>
              <a:gdLst/>
              <a:ahLst/>
              <a:cxnLst/>
              <a:rect l="l" t="t" r="r" b="b"/>
              <a:pathLst>
                <a:path w="5656" h="5656"/>
              </a:pathLst>
            </a:custGeom>
            <a:solidFill>
              <a:srgbClr val="335162"/>
            </a:solidFill>
            <a:ln w="5647" cap="flat">
              <a:noFill/>
              <a:prstDash val="solid"/>
              <a:miter/>
            </a:ln>
          </p:spPr>
          <p:txBody>
            <a:bodyPr rtlCol="0" anchor="ctr"/>
            <a:lstStyle/>
            <a:p>
              <a:endParaRPr lang="de-DE"/>
            </a:p>
          </p:txBody>
        </p:sp>
        <p:grpSp>
          <p:nvGrpSpPr>
            <p:cNvPr id="25" name="Group 24">
              <a:extLst>
                <a:ext uri="{FF2B5EF4-FFF2-40B4-BE49-F238E27FC236}">
                  <a16:creationId xmlns:a16="http://schemas.microsoft.com/office/drawing/2014/main" id="{1F4CD68B-6825-7D51-706C-6C36CA5859D3}"/>
                </a:ext>
              </a:extLst>
            </p:cNvPr>
            <p:cNvGrpSpPr/>
            <p:nvPr/>
          </p:nvGrpSpPr>
          <p:grpSpPr>
            <a:xfrm>
              <a:off x="1453257" y="3506059"/>
              <a:ext cx="1251965" cy="1578108"/>
              <a:chOff x="1453257" y="3506059"/>
              <a:chExt cx="1251965" cy="1578108"/>
            </a:xfrm>
          </p:grpSpPr>
          <p:sp>
            <p:nvSpPr>
              <p:cNvPr id="26" name="Freeform: Shape 25">
                <a:extLst>
                  <a:ext uri="{FF2B5EF4-FFF2-40B4-BE49-F238E27FC236}">
                    <a16:creationId xmlns:a16="http://schemas.microsoft.com/office/drawing/2014/main" id="{CD807786-BCD2-64FF-FC3A-9AE8514AB0B5}"/>
                  </a:ext>
                </a:extLst>
              </p:cNvPr>
              <p:cNvSpPr/>
              <p:nvPr/>
            </p:nvSpPr>
            <p:spPr>
              <a:xfrm>
                <a:off x="1453257" y="4964254"/>
                <a:ext cx="1251965" cy="119913"/>
              </a:xfrm>
              <a:custGeom>
                <a:avLst/>
                <a:gdLst>
                  <a:gd name="connsiteX0" fmla="*/ 1251966 w 1251965"/>
                  <a:gd name="connsiteY0" fmla="*/ 59957 h 119913"/>
                  <a:gd name="connsiteX1" fmla="*/ 625983 w 1251965"/>
                  <a:gd name="connsiteY1" fmla="*/ 119913 h 119913"/>
                  <a:gd name="connsiteX2" fmla="*/ 0 w 1251965"/>
                  <a:gd name="connsiteY2" fmla="*/ 59957 h 119913"/>
                  <a:gd name="connsiteX3" fmla="*/ 625983 w 1251965"/>
                  <a:gd name="connsiteY3" fmla="*/ 0 h 119913"/>
                  <a:gd name="connsiteX4" fmla="*/ 1251966 w 1251965"/>
                  <a:gd name="connsiteY4" fmla="*/ 59957 h 119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1965" h="119913">
                    <a:moveTo>
                      <a:pt x="1251966" y="59957"/>
                    </a:moveTo>
                    <a:cubicBezTo>
                      <a:pt x="1251966" y="93070"/>
                      <a:pt x="971704" y="119913"/>
                      <a:pt x="625983" y="119913"/>
                    </a:cubicBezTo>
                    <a:cubicBezTo>
                      <a:pt x="280262" y="119913"/>
                      <a:pt x="0" y="93070"/>
                      <a:pt x="0" y="59957"/>
                    </a:cubicBezTo>
                    <a:cubicBezTo>
                      <a:pt x="0" y="26843"/>
                      <a:pt x="280262" y="0"/>
                      <a:pt x="625983" y="0"/>
                    </a:cubicBezTo>
                    <a:cubicBezTo>
                      <a:pt x="971704" y="0"/>
                      <a:pt x="1251966" y="26843"/>
                      <a:pt x="1251966" y="59957"/>
                    </a:cubicBezTo>
                    <a:close/>
                  </a:path>
                </a:pathLst>
              </a:custGeom>
              <a:solidFill>
                <a:srgbClr val="000405">
                  <a:alpha val="5000"/>
                </a:srgbClr>
              </a:solidFill>
              <a:ln w="5647" cap="flat">
                <a:noFill/>
                <a:prstDash val="solid"/>
                <a:miter/>
              </a:ln>
            </p:spPr>
            <p:txBody>
              <a:bodyPr rtlCol="0" anchor="ctr"/>
              <a:lstStyle/>
              <a:p>
                <a:endParaRPr lang="de-DE"/>
              </a:p>
            </p:txBody>
          </p:sp>
          <p:sp>
            <p:nvSpPr>
              <p:cNvPr id="27" name="Freeform: Shape 26">
                <a:extLst>
                  <a:ext uri="{FF2B5EF4-FFF2-40B4-BE49-F238E27FC236}">
                    <a16:creationId xmlns:a16="http://schemas.microsoft.com/office/drawing/2014/main" id="{DC2A30A3-947D-CFBC-8D7B-8D8850C9809D}"/>
                  </a:ext>
                </a:extLst>
              </p:cNvPr>
              <p:cNvSpPr/>
              <p:nvPr/>
            </p:nvSpPr>
            <p:spPr>
              <a:xfrm>
                <a:off x="2349680" y="3586016"/>
                <a:ext cx="106757" cy="187267"/>
              </a:xfrm>
              <a:custGeom>
                <a:avLst/>
                <a:gdLst>
                  <a:gd name="connsiteX0" fmla="*/ 19897 w 106757"/>
                  <a:gd name="connsiteY0" fmla="*/ 121916 h 187267"/>
                  <a:gd name="connsiteX1" fmla="*/ 722 w 106757"/>
                  <a:gd name="connsiteY1" fmla="*/ 160718 h 187267"/>
                  <a:gd name="connsiteX2" fmla="*/ 3702 w 106757"/>
                  <a:gd name="connsiteY2" fmla="*/ 169759 h 187267"/>
                  <a:gd name="connsiteX3" fmla="*/ 3720 w 106757"/>
                  <a:gd name="connsiteY3" fmla="*/ 169768 h 187267"/>
                  <a:gd name="connsiteX4" fmla="*/ 4229 w 106757"/>
                  <a:gd name="connsiteY4" fmla="*/ 169768 h 187267"/>
                  <a:gd name="connsiteX5" fmla="*/ 45973 w 106757"/>
                  <a:gd name="connsiteY5" fmla="*/ 186737 h 187267"/>
                  <a:gd name="connsiteX6" fmla="*/ 54684 w 106757"/>
                  <a:gd name="connsiteY6" fmla="*/ 183287 h 187267"/>
                  <a:gd name="connsiteX7" fmla="*/ 73293 w 106757"/>
                  <a:gd name="connsiteY7" fmla="*/ 142788 h 187267"/>
                  <a:gd name="connsiteX8" fmla="*/ 74820 w 106757"/>
                  <a:gd name="connsiteY8" fmla="*/ 140695 h 187267"/>
                  <a:gd name="connsiteX9" fmla="*/ 104629 w 106757"/>
                  <a:gd name="connsiteY9" fmla="*/ 112413 h 187267"/>
                  <a:gd name="connsiteX10" fmla="*/ 106721 w 106757"/>
                  <a:gd name="connsiteY10" fmla="*/ 106757 h 187267"/>
                  <a:gd name="connsiteX11" fmla="*/ 95748 w 106757"/>
                  <a:gd name="connsiteY11" fmla="*/ 23100 h 187267"/>
                  <a:gd name="connsiteX12" fmla="*/ 92354 w 106757"/>
                  <a:gd name="connsiteY12" fmla="*/ 18066 h 187267"/>
                  <a:gd name="connsiteX13" fmla="*/ 66845 w 106757"/>
                  <a:gd name="connsiteY13" fmla="*/ 3982 h 187267"/>
                  <a:gd name="connsiteX14" fmla="*/ 58134 w 106757"/>
                  <a:gd name="connsiteY14" fmla="*/ 5735 h 187267"/>
                  <a:gd name="connsiteX15" fmla="*/ 48462 w 106757"/>
                  <a:gd name="connsiteY15" fmla="*/ 18236 h 187267"/>
                  <a:gd name="connsiteX16" fmla="*/ 38959 w 106757"/>
                  <a:gd name="connsiteY16" fmla="*/ 19424 h 187267"/>
                  <a:gd name="connsiteX17" fmla="*/ 36753 w 106757"/>
                  <a:gd name="connsiteY17" fmla="*/ 16482 h 187267"/>
                  <a:gd name="connsiteX18" fmla="*/ 32228 w 106757"/>
                  <a:gd name="connsiteY18" fmla="*/ 4378 h 187267"/>
                  <a:gd name="connsiteX19" fmla="*/ 27194 w 106757"/>
                  <a:gd name="connsiteY19" fmla="*/ 136 h 187267"/>
                  <a:gd name="connsiteX20" fmla="*/ 27194 w 106757"/>
                  <a:gd name="connsiteY20" fmla="*/ 136 h 187267"/>
                  <a:gd name="connsiteX21" fmla="*/ 19218 w 106757"/>
                  <a:gd name="connsiteY21" fmla="*/ 5340 h 187267"/>
                  <a:gd name="connsiteX22" fmla="*/ 19218 w 106757"/>
                  <a:gd name="connsiteY22" fmla="*/ 7659 h 187267"/>
                  <a:gd name="connsiteX23" fmla="*/ 23744 w 106757"/>
                  <a:gd name="connsiteY23" fmla="*/ 41879 h 187267"/>
                  <a:gd name="connsiteX24" fmla="*/ 23744 w 106757"/>
                  <a:gd name="connsiteY24" fmla="*/ 43067 h 187267"/>
                  <a:gd name="connsiteX25" fmla="*/ 20746 w 106757"/>
                  <a:gd name="connsiteY25" fmla="*/ 119201 h 187267"/>
                  <a:gd name="connsiteX26" fmla="*/ 19897 w 106757"/>
                  <a:gd name="connsiteY26" fmla="*/ 121916 h 187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6757" h="187267">
                    <a:moveTo>
                      <a:pt x="19897" y="121916"/>
                    </a:moveTo>
                    <a:lnTo>
                      <a:pt x="722" y="160718"/>
                    </a:lnTo>
                    <a:cubicBezTo>
                      <a:pt x="-951" y="164037"/>
                      <a:pt x="383" y="168085"/>
                      <a:pt x="3702" y="169759"/>
                    </a:cubicBezTo>
                    <a:cubicBezTo>
                      <a:pt x="3708" y="169762"/>
                      <a:pt x="3714" y="169765"/>
                      <a:pt x="3720" y="169768"/>
                    </a:cubicBezTo>
                    <a:lnTo>
                      <a:pt x="4229" y="169768"/>
                    </a:lnTo>
                    <a:lnTo>
                      <a:pt x="45973" y="186737"/>
                    </a:lnTo>
                    <a:cubicBezTo>
                      <a:pt x="49331" y="188160"/>
                      <a:pt x="53211" y="186624"/>
                      <a:pt x="54684" y="183287"/>
                    </a:cubicBezTo>
                    <a:lnTo>
                      <a:pt x="73293" y="142788"/>
                    </a:lnTo>
                    <a:cubicBezTo>
                      <a:pt x="73633" y="141981"/>
                      <a:pt x="74156" y="141265"/>
                      <a:pt x="74820" y="140695"/>
                    </a:cubicBezTo>
                    <a:lnTo>
                      <a:pt x="104629" y="112413"/>
                    </a:lnTo>
                    <a:cubicBezTo>
                      <a:pt x="106164" y="110954"/>
                      <a:pt x="106937" y="108865"/>
                      <a:pt x="106721" y="106757"/>
                    </a:cubicBezTo>
                    <a:lnTo>
                      <a:pt x="95748" y="23100"/>
                    </a:lnTo>
                    <a:cubicBezTo>
                      <a:pt x="95455" y="20988"/>
                      <a:pt x="94203" y="19130"/>
                      <a:pt x="92354" y="18066"/>
                    </a:cubicBezTo>
                    <a:lnTo>
                      <a:pt x="66845" y="3982"/>
                    </a:lnTo>
                    <a:cubicBezTo>
                      <a:pt x="63909" y="2321"/>
                      <a:pt x="60198" y="3068"/>
                      <a:pt x="58134" y="5735"/>
                    </a:cubicBezTo>
                    <a:lnTo>
                      <a:pt x="48462" y="18236"/>
                    </a:lnTo>
                    <a:cubicBezTo>
                      <a:pt x="46161" y="21180"/>
                      <a:pt x="41914" y="21711"/>
                      <a:pt x="38959" y="19424"/>
                    </a:cubicBezTo>
                    <a:cubicBezTo>
                      <a:pt x="37949" y="18683"/>
                      <a:pt x="37181" y="17659"/>
                      <a:pt x="36753" y="16482"/>
                    </a:cubicBezTo>
                    <a:lnTo>
                      <a:pt x="32228" y="4378"/>
                    </a:lnTo>
                    <a:cubicBezTo>
                      <a:pt x="31403" y="2184"/>
                      <a:pt x="29496" y="577"/>
                      <a:pt x="27194" y="136"/>
                    </a:cubicBezTo>
                    <a:lnTo>
                      <a:pt x="27194" y="136"/>
                    </a:lnTo>
                    <a:cubicBezTo>
                      <a:pt x="23560" y="-598"/>
                      <a:pt x="20010" y="1718"/>
                      <a:pt x="19218" y="5340"/>
                    </a:cubicBezTo>
                    <a:cubicBezTo>
                      <a:pt x="19105" y="6108"/>
                      <a:pt x="19105" y="6890"/>
                      <a:pt x="19218" y="7659"/>
                    </a:cubicBezTo>
                    <a:lnTo>
                      <a:pt x="23744" y="41879"/>
                    </a:lnTo>
                    <a:lnTo>
                      <a:pt x="23744" y="43067"/>
                    </a:lnTo>
                    <a:lnTo>
                      <a:pt x="20746" y="119201"/>
                    </a:lnTo>
                    <a:cubicBezTo>
                      <a:pt x="20638" y="120152"/>
                      <a:pt x="20350" y="121073"/>
                      <a:pt x="19897" y="121916"/>
                    </a:cubicBezTo>
                    <a:close/>
                  </a:path>
                </a:pathLst>
              </a:custGeom>
              <a:gradFill>
                <a:gsLst>
                  <a:gs pos="0">
                    <a:srgbClr val="ECC4D7"/>
                  </a:gs>
                  <a:gs pos="42000">
                    <a:srgbClr val="EFD4D1"/>
                  </a:gs>
                  <a:gs pos="100000">
                    <a:srgbClr val="F2EAC9"/>
                  </a:gs>
                </a:gsLst>
                <a:lin ang="0" scaled="1"/>
              </a:gradFill>
              <a:ln w="5647" cap="flat">
                <a:noFill/>
                <a:prstDash val="solid"/>
                <a:miter/>
              </a:ln>
            </p:spPr>
            <p:txBody>
              <a:bodyPr rtlCol="0" anchor="ctr"/>
              <a:lstStyle/>
              <a:p>
                <a:endParaRPr lang="de-DE"/>
              </a:p>
            </p:txBody>
          </p:sp>
          <p:sp>
            <p:nvSpPr>
              <p:cNvPr id="28" name="Freeform: Shape 27">
                <a:extLst>
                  <a:ext uri="{FF2B5EF4-FFF2-40B4-BE49-F238E27FC236}">
                    <a16:creationId xmlns:a16="http://schemas.microsoft.com/office/drawing/2014/main" id="{6FAE3DF5-8910-D19D-E11C-79FB271FAD69}"/>
                  </a:ext>
                </a:extLst>
              </p:cNvPr>
              <p:cNvSpPr/>
              <p:nvPr/>
            </p:nvSpPr>
            <p:spPr>
              <a:xfrm>
                <a:off x="1823292" y="3733159"/>
                <a:ext cx="200459" cy="556863"/>
              </a:xfrm>
              <a:custGeom>
                <a:avLst/>
                <a:gdLst>
                  <a:gd name="connsiteX0" fmla="*/ 0 w 200459"/>
                  <a:gd name="connsiteY0" fmla="*/ 418906 h 556863"/>
                  <a:gd name="connsiteX1" fmla="*/ 100060 w 200459"/>
                  <a:gd name="connsiteY1" fmla="*/ 472188 h 556863"/>
                  <a:gd name="connsiteX2" fmla="*/ 166126 w 200459"/>
                  <a:gd name="connsiteY2" fmla="*/ 383554 h 556863"/>
                  <a:gd name="connsiteX3" fmla="*/ 0 w 200459"/>
                  <a:gd name="connsiteY3" fmla="*/ 257588 h 556863"/>
                  <a:gd name="connsiteX4" fmla="*/ 36313 w 200459"/>
                  <a:gd name="connsiteY4" fmla="*/ 0 h 556863"/>
                  <a:gd name="connsiteX5" fmla="*/ 67536 w 200459"/>
                  <a:gd name="connsiteY5" fmla="*/ 257588 h 556863"/>
                  <a:gd name="connsiteX6" fmla="*/ 200459 w 200459"/>
                  <a:gd name="connsiteY6" fmla="*/ 352557 h 556863"/>
                  <a:gd name="connsiteX7" fmla="*/ 176477 w 200459"/>
                  <a:gd name="connsiteY7" fmla="*/ 542100 h 556863"/>
                  <a:gd name="connsiteX8" fmla="*/ 20702 w 200459"/>
                  <a:gd name="connsiteY8" fmla="*/ 556863 h 556863"/>
                  <a:gd name="connsiteX9" fmla="*/ 0 w 200459"/>
                  <a:gd name="connsiteY9" fmla="*/ 418906 h 556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459" h="556863">
                    <a:moveTo>
                      <a:pt x="0" y="418906"/>
                    </a:moveTo>
                    <a:lnTo>
                      <a:pt x="100060" y="472188"/>
                    </a:lnTo>
                    <a:lnTo>
                      <a:pt x="166126" y="383554"/>
                    </a:lnTo>
                    <a:lnTo>
                      <a:pt x="0" y="257588"/>
                    </a:lnTo>
                    <a:lnTo>
                      <a:pt x="36313" y="0"/>
                    </a:lnTo>
                    <a:lnTo>
                      <a:pt x="67536" y="257588"/>
                    </a:lnTo>
                    <a:lnTo>
                      <a:pt x="200459" y="352557"/>
                    </a:lnTo>
                    <a:lnTo>
                      <a:pt x="176477" y="542100"/>
                    </a:lnTo>
                    <a:lnTo>
                      <a:pt x="20702" y="556863"/>
                    </a:lnTo>
                    <a:lnTo>
                      <a:pt x="0" y="418906"/>
                    </a:lnTo>
                    <a:close/>
                  </a:path>
                </a:pathLst>
              </a:custGeom>
              <a:gradFill>
                <a:gsLst>
                  <a:gs pos="0">
                    <a:srgbClr val="000000">
                      <a:alpha val="0"/>
                    </a:srgbClr>
                  </a:gs>
                  <a:gs pos="91000">
                    <a:srgbClr val="000000">
                      <a:alpha val="80000"/>
                    </a:srgbClr>
                  </a:gs>
                  <a:gs pos="100000">
                    <a:srgbClr val="000000"/>
                  </a:gs>
                </a:gsLst>
                <a:lin ang="9518788" scaled="1"/>
              </a:gradFill>
              <a:ln w="5647" cap="flat">
                <a:noFill/>
                <a:prstDash val="solid"/>
                <a:miter/>
              </a:ln>
            </p:spPr>
            <p:txBody>
              <a:bodyPr rtlCol="0" anchor="ctr"/>
              <a:lstStyle/>
              <a:p>
                <a:endParaRPr lang="de-DE"/>
              </a:p>
            </p:txBody>
          </p:sp>
          <p:sp>
            <p:nvSpPr>
              <p:cNvPr id="29" name="Freeform: Shape 28">
                <a:extLst>
                  <a:ext uri="{FF2B5EF4-FFF2-40B4-BE49-F238E27FC236}">
                    <a16:creationId xmlns:a16="http://schemas.microsoft.com/office/drawing/2014/main" id="{C579C090-B243-C0B8-E450-3CE5D8720486}"/>
                  </a:ext>
                </a:extLst>
              </p:cNvPr>
              <p:cNvSpPr/>
              <p:nvPr/>
            </p:nvSpPr>
            <p:spPr>
              <a:xfrm>
                <a:off x="1911474" y="3557418"/>
                <a:ext cx="162788" cy="413815"/>
              </a:xfrm>
              <a:custGeom>
                <a:avLst/>
                <a:gdLst>
                  <a:gd name="connsiteX0" fmla="*/ 30261 w 162788"/>
                  <a:gd name="connsiteY0" fmla="*/ 0 h 413815"/>
                  <a:gd name="connsiteX1" fmla="*/ 0 w 162788"/>
                  <a:gd name="connsiteY1" fmla="*/ 10068 h 413815"/>
                  <a:gd name="connsiteX2" fmla="*/ 19684 w 162788"/>
                  <a:gd name="connsiteY2" fmla="*/ 152324 h 413815"/>
                  <a:gd name="connsiteX3" fmla="*/ 62615 w 162788"/>
                  <a:gd name="connsiteY3" fmla="*/ 166635 h 413815"/>
                  <a:gd name="connsiteX4" fmla="*/ 37218 w 162788"/>
                  <a:gd name="connsiteY4" fmla="*/ 183547 h 413815"/>
                  <a:gd name="connsiteX5" fmla="*/ 162788 w 162788"/>
                  <a:gd name="connsiteY5" fmla="*/ 413815 h 413815"/>
                  <a:gd name="connsiteX6" fmla="*/ 30261 w 162788"/>
                  <a:gd name="connsiteY6" fmla="*/ 0 h 41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788" h="413815">
                    <a:moveTo>
                      <a:pt x="30261" y="0"/>
                    </a:moveTo>
                    <a:lnTo>
                      <a:pt x="0" y="10068"/>
                    </a:lnTo>
                    <a:lnTo>
                      <a:pt x="19684" y="152324"/>
                    </a:lnTo>
                    <a:lnTo>
                      <a:pt x="62615" y="166635"/>
                    </a:lnTo>
                    <a:lnTo>
                      <a:pt x="37218" y="183547"/>
                    </a:lnTo>
                    <a:lnTo>
                      <a:pt x="162788" y="413815"/>
                    </a:lnTo>
                    <a:lnTo>
                      <a:pt x="30261" y="0"/>
                    </a:lnTo>
                    <a:close/>
                  </a:path>
                </a:pathLst>
              </a:custGeom>
              <a:solidFill>
                <a:schemeClr val="tx2">
                  <a:lumMod val="40000"/>
                  <a:lumOff val="60000"/>
                </a:schemeClr>
              </a:solidFill>
              <a:ln w="5647" cap="flat">
                <a:noFill/>
                <a:prstDash val="solid"/>
                <a:miter/>
              </a:ln>
            </p:spPr>
            <p:txBody>
              <a:bodyPr rtlCol="0" anchor="ctr"/>
              <a:lstStyle/>
              <a:p>
                <a:endParaRPr lang="de-DE"/>
              </a:p>
            </p:txBody>
          </p:sp>
          <p:sp>
            <p:nvSpPr>
              <p:cNvPr id="30" name="Freeform: Shape 29">
                <a:extLst>
                  <a:ext uri="{FF2B5EF4-FFF2-40B4-BE49-F238E27FC236}">
                    <a16:creationId xmlns:a16="http://schemas.microsoft.com/office/drawing/2014/main" id="{5D15A26F-0576-B8E7-2D19-07E93AE9A397}"/>
                  </a:ext>
                </a:extLst>
              </p:cNvPr>
              <p:cNvSpPr/>
              <p:nvPr/>
            </p:nvSpPr>
            <p:spPr>
              <a:xfrm>
                <a:off x="2024317" y="3557418"/>
                <a:ext cx="89539" cy="413815"/>
              </a:xfrm>
              <a:custGeom>
                <a:avLst/>
                <a:gdLst>
                  <a:gd name="connsiteX0" fmla="*/ 0 w 89539"/>
                  <a:gd name="connsiteY0" fmla="*/ 0 h 413815"/>
                  <a:gd name="connsiteX1" fmla="*/ 29752 w 89539"/>
                  <a:gd name="connsiteY1" fmla="*/ 244409 h 413815"/>
                  <a:gd name="connsiteX2" fmla="*/ 49945 w 89539"/>
                  <a:gd name="connsiteY2" fmla="*/ 413815 h 413815"/>
                  <a:gd name="connsiteX3" fmla="*/ 89539 w 89539"/>
                  <a:gd name="connsiteY3" fmla="*/ 200573 h 413815"/>
                  <a:gd name="connsiteX4" fmla="*/ 56054 w 89539"/>
                  <a:gd name="connsiteY4" fmla="*/ 160469 h 413815"/>
                  <a:gd name="connsiteX5" fmla="*/ 73645 w 89539"/>
                  <a:gd name="connsiteY5" fmla="*/ 131170 h 413815"/>
                  <a:gd name="connsiteX6" fmla="*/ 22738 w 89539"/>
                  <a:gd name="connsiteY6" fmla="*/ 3846 h 41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39" h="413815">
                    <a:moveTo>
                      <a:pt x="0" y="0"/>
                    </a:moveTo>
                    <a:cubicBezTo>
                      <a:pt x="0" y="0"/>
                      <a:pt x="15329" y="130095"/>
                      <a:pt x="29752" y="244409"/>
                    </a:cubicBezTo>
                    <a:cubicBezTo>
                      <a:pt x="39707" y="323201"/>
                      <a:pt x="50624" y="392548"/>
                      <a:pt x="49945" y="413815"/>
                    </a:cubicBezTo>
                    <a:lnTo>
                      <a:pt x="89539" y="200573"/>
                    </a:lnTo>
                    <a:lnTo>
                      <a:pt x="56054" y="160469"/>
                    </a:lnTo>
                    <a:lnTo>
                      <a:pt x="73645" y="131170"/>
                    </a:lnTo>
                    <a:lnTo>
                      <a:pt x="22738" y="3846"/>
                    </a:lnTo>
                    <a:close/>
                  </a:path>
                </a:pathLst>
              </a:custGeom>
              <a:gradFill>
                <a:gsLst>
                  <a:gs pos="36000">
                    <a:srgbClr val="00272E"/>
                  </a:gs>
                  <a:gs pos="75000">
                    <a:srgbClr val="3F80A1">
                      <a:alpha val="24706"/>
                    </a:srgbClr>
                  </a:gs>
                  <a:gs pos="100000">
                    <a:srgbClr val="69B9EB">
                      <a:alpha val="0"/>
                    </a:srgbClr>
                  </a:gs>
                </a:gsLst>
                <a:lin ang="351329" scaled="1"/>
              </a:gradFill>
              <a:ln w="5647" cap="flat">
                <a:noFill/>
                <a:prstDash val="solid"/>
                <a:miter/>
              </a:ln>
            </p:spPr>
            <p:txBody>
              <a:bodyPr rtlCol="0" anchor="ctr"/>
              <a:lstStyle/>
              <a:p>
                <a:endParaRPr lang="de-DE"/>
              </a:p>
            </p:txBody>
          </p:sp>
          <p:sp>
            <p:nvSpPr>
              <p:cNvPr id="31" name="Freeform: Shape 30">
                <a:extLst>
                  <a:ext uri="{FF2B5EF4-FFF2-40B4-BE49-F238E27FC236}">
                    <a16:creationId xmlns:a16="http://schemas.microsoft.com/office/drawing/2014/main" id="{06CF53CC-F0E1-7362-9A0B-936A8548DF87}"/>
                  </a:ext>
                </a:extLst>
              </p:cNvPr>
              <p:cNvSpPr/>
              <p:nvPr/>
            </p:nvSpPr>
            <p:spPr>
              <a:xfrm>
                <a:off x="1953104" y="3587566"/>
                <a:ext cx="121157" cy="383666"/>
              </a:xfrm>
              <a:custGeom>
                <a:avLst/>
                <a:gdLst>
                  <a:gd name="connsiteX0" fmla="*/ 0 w 121157"/>
                  <a:gd name="connsiteY0" fmla="*/ 5204 h 383666"/>
                  <a:gd name="connsiteX1" fmla="*/ 75455 w 121157"/>
                  <a:gd name="connsiteY1" fmla="*/ 0 h 383666"/>
                  <a:gd name="connsiteX2" fmla="*/ 121158 w 121157"/>
                  <a:gd name="connsiteY2" fmla="*/ 383667 h 383666"/>
                </a:gdLst>
                <a:ahLst/>
                <a:cxnLst>
                  <a:cxn ang="0">
                    <a:pos x="connsiteX0" y="connsiteY0"/>
                  </a:cxn>
                  <a:cxn ang="0">
                    <a:pos x="connsiteX1" y="connsiteY1"/>
                  </a:cxn>
                  <a:cxn ang="0">
                    <a:pos x="connsiteX2" y="connsiteY2"/>
                  </a:cxn>
                </a:cxnLst>
                <a:rect l="l" t="t" r="r" b="b"/>
                <a:pathLst>
                  <a:path w="121157" h="383666">
                    <a:moveTo>
                      <a:pt x="0" y="5204"/>
                    </a:moveTo>
                    <a:cubicBezTo>
                      <a:pt x="0" y="5204"/>
                      <a:pt x="38859" y="39142"/>
                      <a:pt x="75455" y="0"/>
                    </a:cubicBezTo>
                    <a:lnTo>
                      <a:pt x="121158" y="383667"/>
                    </a:lnTo>
                    <a:close/>
                  </a:path>
                </a:pathLst>
              </a:custGeom>
              <a:solidFill>
                <a:srgbClr val="FFFFFF"/>
              </a:solidFill>
              <a:ln w="5647" cap="flat">
                <a:noFill/>
                <a:prstDash val="solid"/>
                <a:miter/>
              </a:ln>
            </p:spPr>
            <p:txBody>
              <a:bodyPr rtlCol="0" anchor="ctr"/>
              <a:lstStyle/>
              <a:p>
                <a:endParaRPr lang="de-DE"/>
              </a:p>
            </p:txBody>
          </p:sp>
          <p:sp>
            <p:nvSpPr>
              <p:cNvPr id="32" name="Freeform: Shape 31">
                <a:extLst>
                  <a:ext uri="{FF2B5EF4-FFF2-40B4-BE49-F238E27FC236}">
                    <a16:creationId xmlns:a16="http://schemas.microsoft.com/office/drawing/2014/main" id="{442A333B-F6AA-164B-E876-84794AB79646}"/>
                  </a:ext>
                </a:extLst>
              </p:cNvPr>
              <p:cNvSpPr/>
              <p:nvPr/>
            </p:nvSpPr>
            <p:spPr>
              <a:xfrm>
                <a:off x="1984327" y="3606175"/>
                <a:ext cx="32693" cy="42931"/>
              </a:xfrm>
              <a:custGeom>
                <a:avLst/>
                <a:gdLst>
                  <a:gd name="connsiteX0" fmla="*/ 10125 w 32693"/>
                  <a:gd name="connsiteY0" fmla="*/ 0 h 42931"/>
                  <a:gd name="connsiteX1" fmla="*/ 0 w 32693"/>
                  <a:gd name="connsiteY1" fmla="*/ 30261 h 42931"/>
                  <a:gd name="connsiteX2" fmla="*/ 24379 w 32693"/>
                  <a:gd name="connsiteY2" fmla="*/ 42931 h 42931"/>
                  <a:gd name="connsiteX3" fmla="*/ 32693 w 32693"/>
                  <a:gd name="connsiteY3" fmla="*/ 15611 h 42931"/>
                  <a:gd name="connsiteX4" fmla="*/ 10125 w 32693"/>
                  <a:gd name="connsiteY4" fmla="*/ 0 h 42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42931">
                    <a:moveTo>
                      <a:pt x="10125" y="0"/>
                    </a:moveTo>
                    <a:lnTo>
                      <a:pt x="0" y="30261"/>
                    </a:lnTo>
                    <a:lnTo>
                      <a:pt x="24379" y="42931"/>
                    </a:lnTo>
                    <a:lnTo>
                      <a:pt x="32693" y="15611"/>
                    </a:lnTo>
                    <a:lnTo>
                      <a:pt x="10125" y="0"/>
                    </a:lnTo>
                    <a:close/>
                  </a:path>
                </a:pathLst>
              </a:custGeom>
              <a:solidFill>
                <a:schemeClr val="tx2">
                  <a:lumMod val="40000"/>
                  <a:lumOff val="60000"/>
                </a:schemeClr>
              </a:solidFill>
              <a:ln w="5647" cap="flat">
                <a:noFill/>
                <a:prstDash val="solid"/>
                <a:miter/>
              </a:ln>
            </p:spPr>
            <p:txBody>
              <a:bodyPr rtlCol="0" anchor="ctr"/>
              <a:lstStyle/>
              <a:p>
                <a:endParaRPr lang="de-DE"/>
              </a:p>
            </p:txBody>
          </p:sp>
          <p:sp>
            <p:nvSpPr>
              <p:cNvPr id="33" name="Freeform: Shape 32">
                <a:extLst>
                  <a:ext uri="{FF2B5EF4-FFF2-40B4-BE49-F238E27FC236}">
                    <a16:creationId xmlns:a16="http://schemas.microsoft.com/office/drawing/2014/main" id="{1C809BC2-A306-66F6-F297-6F2A8ADE4D82}"/>
                  </a:ext>
                </a:extLst>
              </p:cNvPr>
              <p:cNvSpPr/>
              <p:nvPr/>
            </p:nvSpPr>
            <p:spPr>
              <a:xfrm>
                <a:off x="2003162" y="3641584"/>
                <a:ext cx="71099" cy="329649"/>
              </a:xfrm>
              <a:custGeom>
                <a:avLst/>
                <a:gdLst>
                  <a:gd name="connsiteX0" fmla="*/ 25623 w 71099"/>
                  <a:gd name="connsiteY0" fmla="*/ 187676 h 329649"/>
                  <a:gd name="connsiteX1" fmla="*/ 0 w 71099"/>
                  <a:gd name="connsiteY1" fmla="*/ 3281 h 329649"/>
                  <a:gd name="connsiteX2" fmla="*/ 7806 w 71099"/>
                  <a:gd name="connsiteY2" fmla="*/ 0 h 329649"/>
                  <a:gd name="connsiteX3" fmla="*/ 48248 w 71099"/>
                  <a:gd name="connsiteY3" fmla="*/ 137844 h 329649"/>
                  <a:gd name="connsiteX4" fmla="*/ 71100 w 71099"/>
                  <a:gd name="connsiteY4" fmla="*/ 329649 h 329649"/>
                  <a:gd name="connsiteX5" fmla="*/ 25623 w 71099"/>
                  <a:gd name="connsiteY5" fmla="*/ 187676 h 32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099" h="329649">
                    <a:moveTo>
                      <a:pt x="25623" y="187676"/>
                    </a:moveTo>
                    <a:lnTo>
                      <a:pt x="0" y="3281"/>
                    </a:lnTo>
                    <a:lnTo>
                      <a:pt x="7806" y="0"/>
                    </a:lnTo>
                    <a:lnTo>
                      <a:pt x="48248" y="137844"/>
                    </a:lnTo>
                    <a:lnTo>
                      <a:pt x="71100" y="329649"/>
                    </a:lnTo>
                    <a:lnTo>
                      <a:pt x="25623" y="187676"/>
                    </a:lnTo>
                    <a:close/>
                  </a:path>
                </a:pathLst>
              </a:custGeom>
              <a:solidFill>
                <a:schemeClr val="tx2">
                  <a:lumMod val="60000"/>
                  <a:lumOff val="40000"/>
                </a:schemeClr>
              </a:solidFill>
              <a:ln w="5647" cap="flat">
                <a:noFill/>
                <a:prstDash val="solid"/>
                <a:miter/>
              </a:ln>
            </p:spPr>
            <p:txBody>
              <a:bodyPr rtlCol="0" anchor="ctr"/>
              <a:lstStyle/>
              <a:p>
                <a:endParaRPr lang="de-DE"/>
              </a:p>
            </p:txBody>
          </p:sp>
          <p:sp>
            <p:nvSpPr>
              <p:cNvPr id="34" name="Freeform: Shape 33">
                <a:extLst>
                  <a:ext uri="{FF2B5EF4-FFF2-40B4-BE49-F238E27FC236}">
                    <a16:creationId xmlns:a16="http://schemas.microsoft.com/office/drawing/2014/main" id="{7B73F09C-6DE0-B7C7-5DEB-9CA31DA9B2A6}"/>
                  </a:ext>
                </a:extLst>
              </p:cNvPr>
              <p:cNvSpPr/>
              <p:nvPr/>
            </p:nvSpPr>
            <p:spPr>
              <a:xfrm>
                <a:off x="1942074" y="4135549"/>
                <a:ext cx="158942" cy="85362"/>
              </a:xfrm>
              <a:custGeom>
                <a:avLst/>
                <a:gdLst>
                  <a:gd name="connsiteX0" fmla="*/ 0 w 158942"/>
                  <a:gd name="connsiteY0" fmla="*/ 44685 h 85362"/>
                  <a:gd name="connsiteX1" fmla="*/ 64651 w 158942"/>
                  <a:gd name="connsiteY1" fmla="*/ 84731 h 85362"/>
                  <a:gd name="connsiteX2" fmla="*/ 141295 w 158942"/>
                  <a:gd name="connsiteY2" fmla="*/ 79075 h 85362"/>
                  <a:gd name="connsiteX3" fmla="*/ 150175 w 158942"/>
                  <a:gd name="connsiteY3" fmla="*/ 69912 h 85362"/>
                  <a:gd name="connsiteX4" fmla="*/ 158942 w 158942"/>
                  <a:gd name="connsiteY4" fmla="*/ 55658 h 85362"/>
                  <a:gd name="connsiteX5" fmla="*/ 136317 w 158942"/>
                  <a:gd name="connsiteY5" fmla="*/ 41008 h 85362"/>
                  <a:gd name="connsiteX6" fmla="*/ 130661 w 158942"/>
                  <a:gd name="connsiteY6" fmla="*/ 33202 h 85362"/>
                  <a:gd name="connsiteX7" fmla="*/ 88182 w 158942"/>
                  <a:gd name="connsiteY7" fmla="*/ 18553 h 85362"/>
                  <a:gd name="connsiteX8" fmla="*/ 110807 w 158942"/>
                  <a:gd name="connsiteY8" fmla="*/ 4921 h 85362"/>
                  <a:gd name="connsiteX9" fmla="*/ 103510 w 158942"/>
                  <a:gd name="connsiteY9" fmla="*/ 0 h 85362"/>
                  <a:gd name="connsiteX10" fmla="*/ 31619 w 158942"/>
                  <a:gd name="connsiteY10" fmla="*/ 2093 h 85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942" h="85362">
                    <a:moveTo>
                      <a:pt x="0" y="44685"/>
                    </a:moveTo>
                    <a:cubicBezTo>
                      <a:pt x="0" y="44685"/>
                      <a:pt x="47513" y="81733"/>
                      <a:pt x="64651" y="84731"/>
                    </a:cubicBezTo>
                    <a:cubicBezTo>
                      <a:pt x="81790" y="87729"/>
                      <a:pt x="141295" y="79075"/>
                      <a:pt x="141295" y="79075"/>
                    </a:cubicBezTo>
                    <a:lnTo>
                      <a:pt x="150175" y="69912"/>
                    </a:lnTo>
                    <a:lnTo>
                      <a:pt x="158942" y="55658"/>
                    </a:lnTo>
                    <a:cubicBezTo>
                      <a:pt x="151719" y="50299"/>
                      <a:pt x="144162" y="45406"/>
                      <a:pt x="136317" y="41008"/>
                    </a:cubicBezTo>
                    <a:cubicBezTo>
                      <a:pt x="131905" y="39538"/>
                      <a:pt x="130661" y="33202"/>
                      <a:pt x="130661" y="33202"/>
                    </a:cubicBezTo>
                    <a:lnTo>
                      <a:pt x="88182" y="18553"/>
                    </a:lnTo>
                    <a:cubicBezTo>
                      <a:pt x="88182" y="18553"/>
                      <a:pt x="109676" y="8315"/>
                      <a:pt x="110807" y="4921"/>
                    </a:cubicBezTo>
                    <a:cubicBezTo>
                      <a:pt x="111938" y="1527"/>
                      <a:pt x="103510" y="0"/>
                      <a:pt x="103510" y="0"/>
                    </a:cubicBezTo>
                    <a:cubicBezTo>
                      <a:pt x="103510" y="0"/>
                      <a:pt x="37275" y="7070"/>
                      <a:pt x="31619" y="2093"/>
                    </a:cubicBezTo>
                    <a:close/>
                  </a:path>
                </a:pathLst>
              </a:custGeom>
              <a:gradFill>
                <a:gsLst>
                  <a:gs pos="0">
                    <a:srgbClr val="ECC4D7"/>
                  </a:gs>
                  <a:gs pos="42000">
                    <a:srgbClr val="EFD4D1"/>
                  </a:gs>
                  <a:gs pos="100000">
                    <a:srgbClr val="F2EAC9"/>
                  </a:gs>
                </a:gsLst>
                <a:lin ang="0" scaled="1"/>
              </a:gradFill>
              <a:ln w="5647" cap="flat">
                <a:noFill/>
                <a:prstDash val="solid"/>
                <a:miter/>
              </a:ln>
            </p:spPr>
            <p:txBody>
              <a:bodyPr rtlCol="0" anchor="ctr"/>
              <a:lstStyle/>
              <a:p>
                <a:endParaRPr lang="de-DE"/>
              </a:p>
            </p:txBody>
          </p:sp>
          <p:sp>
            <p:nvSpPr>
              <p:cNvPr id="35" name="Freeform: Shape 34">
                <a:extLst>
                  <a:ext uri="{FF2B5EF4-FFF2-40B4-BE49-F238E27FC236}">
                    <a16:creationId xmlns:a16="http://schemas.microsoft.com/office/drawing/2014/main" id="{637FFED0-FEDC-FD16-6ECB-0782C62430CA}"/>
                  </a:ext>
                </a:extLst>
              </p:cNvPr>
              <p:cNvSpPr/>
              <p:nvPr/>
            </p:nvSpPr>
            <p:spPr>
              <a:xfrm>
                <a:off x="1864922" y="4279728"/>
                <a:ext cx="88125" cy="762186"/>
              </a:xfrm>
              <a:custGeom>
                <a:avLst/>
                <a:gdLst>
                  <a:gd name="connsiteX0" fmla="*/ 88125 w 88125"/>
                  <a:gd name="connsiteY0" fmla="*/ 0 h 762186"/>
                  <a:gd name="connsiteX1" fmla="*/ 84392 w 88125"/>
                  <a:gd name="connsiteY1" fmla="*/ 725704 h 762186"/>
                  <a:gd name="connsiteX2" fmla="*/ 19401 w 88125"/>
                  <a:gd name="connsiteY2" fmla="*/ 762187 h 762186"/>
                  <a:gd name="connsiteX3" fmla="*/ 56506 w 88125"/>
                  <a:gd name="connsiteY3" fmla="*/ 736847 h 762186"/>
                  <a:gd name="connsiteX4" fmla="*/ 0 w 88125"/>
                  <a:gd name="connsiteY4" fmla="*/ 8315 h 762186"/>
                  <a:gd name="connsiteX5" fmla="*/ 88125 w 88125"/>
                  <a:gd name="connsiteY5" fmla="*/ 0 h 76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125" h="762186">
                    <a:moveTo>
                      <a:pt x="88125" y="0"/>
                    </a:moveTo>
                    <a:lnTo>
                      <a:pt x="84392" y="725704"/>
                    </a:lnTo>
                    <a:lnTo>
                      <a:pt x="19401" y="762187"/>
                    </a:lnTo>
                    <a:lnTo>
                      <a:pt x="56506" y="736847"/>
                    </a:lnTo>
                    <a:lnTo>
                      <a:pt x="0" y="8315"/>
                    </a:lnTo>
                    <a:lnTo>
                      <a:pt x="88125" y="0"/>
                    </a:lnTo>
                    <a:close/>
                  </a:path>
                </a:pathLst>
              </a:custGeom>
              <a:gradFill>
                <a:gsLst>
                  <a:gs pos="0">
                    <a:srgbClr val="000000">
                      <a:alpha val="0"/>
                    </a:srgbClr>
                  </a:gs>
                  <a:gs pos="91000">
                    <a:srgbClr val="000000">
                      <a:alpha val="80000"/>
                    </a:srgbClr>
                  </a:gs>
                  <a:gs pos="100000">
                    <a:srgbClr val="000000"/>
                  </a:gs>
                </a:gsLst>
                <a:lin ang="12665138" scaled="1"/>
              </a:gradFill>
              <a:ln w="5647" cap="flat">
                <a:noFill/>
                <a:prstDash val="solid"/>
                <a:miter/>
              </a:ln>
            </p:spPr>
            <p:txBody>
              <a:bodyPr rtlCol="0" anchor="ctr"/>
              <a:lstStyle/>
              <a:p>
                <a:endParaRPr lang="de-DE"/>
              </a:p>
            </p:txBody>
          </p:sp>
          <p:sp>
            <p:nvSpPr>
              <p:cNvPr id="36" name="Freeform: Shape 35">
                <a:extLst>
                  <a:ext uri="{FF2B5EF4-FFF2-40B4-BE49-F238E27FC236}">
                    <a16:creationId xmlns:a16="http://schemas.microsoft.com/office/drawing/2014/main" id="{81EFC046-89C5-282F-8060-C36CD6C17D1E}"/>
                  </a:ext>
                </a:extLst>
              </p:cNvPr>
              <p:cNvSpPr/>
              <p:nvPr/>
            </p:nvSpPr>
            <p:spPr>
              <a:xfrm>
                <a:off x="1985282" y="3506059"/>
                <a:ext cx="106288" cy="61007"/>
              </a:xfrm>
              <a:custGeom>
                <a:avLst/>
                <a:gdLst>
                  <a:gd name="connsiteX0" fmla="*/ 40054 w 106288"/>
                  <a:gd name="connsiteY0" fmla="*/ 34107 h 61007"/>
                  <a:gd name="connsiteX1" fmla="*/ 40054 w 106288"/>
                  <a:gd name="connsiteY1" fmla="*/ 59561 h 61007"/>
                  <a:gd name="connsiteX2" fmla="*/ 36038 w 106288"/>
                  <a:gd name="connsiteY2" fmla="*/ 60579 h 61007"/>
                  <a:gd name="connsiteX3" fmla="*/ 7756 w 106288"/>
                  <a:gd name="connsiteY3" fmla="*/ 46269 h 61007"/>
                  <a:gd name="connsiteX4" fmla="*/ 24103 w 106288"/>
                  <a:gd name="connsiteY4" fmla="*/ 3337 h 61007"/>
                  <a:gd name="connsiteX5" fmla="*/ 106289 w 106288"/>
                  <a:gd name="connsiteY5" fmla="*/ 0 h 61007"/>
                  <a:gd name="connsiteX6" fmla="*/ 40054 w 106288"/>
                  <a:gd name="connsiteY6" fmla="*/ 34107 h 6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288" h="61007">
                    <a:moveTo>
                      <a:pt x="40054" y="34107"/>
                    </a:moveTo>
                    <a:cubicBezTo>
                      <a:pt x="38809" y="42546"/>
                      <a:pt x="38809" y="51122"/>
                      <a:pt x="40054" y="59561"/>
                    </a:cubicBezTo>
                    <a:cubicBezTo>
                      <a:pt x="38243" y="60013"/>
                      <a:pt x="36886" y="60296"/>
                      <a:pt x="36038" y="60579"/>
                    </a:cubicBezTo>
                    <a:cubicBezTo>
                      <a:pt x="31456" y="61823"/>
                      <a:pt x="19069" y="61258"/>
                      <a:pt x="7756" y="46269"/>
                    </a:cubicBezTo>
                    <a:cubicBezTo>
                      <a:pt x="-3556" y="31279"/>
                      <a:pt x="-5819" y="-9559"/>
                      <a:pt x="24103" y="3337"/>
                    </a:cubicBezTo>
                    <a:cubicBezTo>
                      <a:pt x="44579" y="12161"/>
                      <a:pt x="83664" y="5260"/>
                      <a:pt x="106289" y="0"/>
                    </a:cubicBezTo>
                    <a:cubicBezTo>
                      <a:pt x="76650" y="15668"/>
                      <a:pt x="36264" y="11652"/>
                      <a:pt x="40054" y="34107"/>
                    </a:cubicBezTo>
                    <a:close/>
                  </a:path>
                </a:pathLst>
              </a:custGeom>
              <a:gradFill>
                <a:gsLst>
                  <a:gs pos="0">
                    <a:srgbClr val="ECC4D7"/>
                  </a:gs>
                  <a:gs pos="42000">
                    <a:srgbClr val="EFD4D1"/>
                  </a:gs>
                  <a:gs pos="100000">
                    <a:srgbClr val="F2EAC9"/>
                  </a:gs>
                </a:gsLst>
                <a:lin ang="3152244" scaled="1"/>
              </a:gradFill>
              <a:ln w="5647" cap="flat">
                <a:noFill/>
                <a:prstDash val="solid"/>
                <a:miter/>
              </a:ln>
            </p:spPr>
            <p:txBody>
              <a:bodyPr rtlCol="0" anchor="ctr"/>
              <a:lstStyle/>
              <a:p>
                <a:endParaRPr lang="de-DE"/>
              </a:p>
            </p:txBody>
          </p:sp>
        </p:grpSp>
      </p:grpSp>
      <p:sp>
        <p:nvSpPr>
          <p:cNvPr id="3" name="TextBox 2">
            <a:extLst>
              <a:ext uri="{FF2B5EF4-FFF2-40B4-BE49-F238E27FC236}">
                <a16:creationId xmlns:a16="http://schemas.microsoft.com/office/drawing/2014/main" id="{021479EA-7CD1-B23C-864A-BF827C68D088}"/>
              </a:ext>
            </a:extLst>
          </p:cNvPr>
          <p:cNvSpPr txBox="1"/>
          <p:nvPr/>
        </p:nvSpPr>
        <p:spPr>
          <a:xfrm>
            <a:off x="1658320" y="2323791"/>
            <a:ext cx="2466924" cy="1084912"/>
          </a:xfrm>
          <a:prstGeom prst="rect">
            <a:avLst/>
          </a:prstGeom>
          <a:noFill/>
        </p:spPr>
        <p:txBody>
          <a:bodyPr wrap="square" rtlCol="0">
            <a:spAutoFit/>
          </a:bodyPr>
          <a:lstStyle/>
          <a:p>
            <a:pPr algn="ctr"/>
            <a:r>
              <a:rPr lang="de-DE" i="1"/>
              <a:t>„Denken ist wie </a:t>
            </a:r>
            <a:r>
              <a:rPr lang="de-DE" i="1" err="1"/>
              <a:t>ChatGPT</a:t>
            </a:r>
            <a:r>
              <a:rPr lang="de-DE" i="1"/>
              <a:t>, nur krasser“</a:t>
            </a:r>
          </a:p>
          <a:p>
            <a:pPr algn="ctr"/>
            <a:r>
              <a:rPr lang="de-DE" i="1"/>
              <a:t> </a:t>
            </a:r>
          </a:p>
          <a:p>
            <a:pPr algn="ctr"/>
            <a:r>
              <a:rPr lang="de-DE" sz="1050" i="1"/>
              <a:t>(Roger Basler de Roca)</a:t>
            </a:r>
            <a:endParaRPr lang="de-DE" i="1"/>
          </a:p>
        </p:txBody>
      </p:sp>
      <p:sp>
        <p:nvSpPr>
          <p:cNvPr id="69" name="Foliennummernplatzhalter 68">
            <a:extLst>
              <a:ext uri="{FF2B5EF4-FFF2-40B4-BE49-F238E27FC236}">
                <a16:creationId xmlns:a16="http://schemas.microsoft.com/office/drawing/2014/main" id="{6C3B29C7-378C-3D59-FF7C-49CDC788A899}"/>
              </a:ext>
            </a:extLst>
          </p:cNvPr>
          <p:cNvSpPr>
            <a:spLocks noGrp="1"/>
          </p:cNvSpPr>
          <p:nvPr>
            <p:ph type="sldNum" sz="quarter" idx="12"/>
          </p:nvPr>
        </p:nvSpPr>
        <p:spPr/>
        <p:txBody>
          <a:bodyPr/>
          <a:lstStyle/>
          <a:p>
            <a:fld id="{64647E8F-5052-4581-98D0-7C32D5A45346}" type="slidenum">
              <a:rPr lang="en-US" smtClean="0"/>
              <a:pPr/>
              <a:t>40</a:t>
            </a:fld>
            <a:endParaRPr lang="en-US"/>
          </a:p>
        </p:txBody>
      </p:sp>
    </p:spTree>
    <p:extLst>
      <p:ext uri="{BB962C8B-B14F-4D97-AF65-F5344CB8AC3E}">
        <p14:creationId xmlns:p14="http://schemas.microsoft.com/office/powerpoint/2010/main" val="4790230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200F8D-256A-4B47-89B0-6A653ECBD296}"/>
              </a:ext>
            </a:extLst>
          </p:cNvPr>
          <p:cNvSpPr>
            <a:spLocks noGrp="1"/>
          </p:cNvSpPr>
          <p:nvPr>
            <p:ph type="title"/>
          </p:nvPr>
        </p:nvSpPr>
        <p:spPr/>
        <p:txBody>
          <a:bodyPr/>
          <a:lstStyle/>
          <a:p>
            <a:endParaRPr lang="de-DE"/>
          </a:p>
        </p:txBody>
      </p:sp>
      <p:sp>
        <p:nvSpPr>
          <p:cNvPr id="3" name="Textplatzhalter 2">
            <a:extLst>
              <a:ext uri="{FF2B5EF4-FFF2-40B4-BE49-F238E27FC236}">
                <a16:creationId xmlns:a16="http://schemas.microsoft.com/office/drawing/2014/main" id="{EFB1AEB1-7B31-476A-A0D3-558CAFD07112}"/>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6E3CBE09-BF93-4637-9150-2A4DCAD552CA}"/>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41</a:t>
            </a:fld>
            <a:r>
              <a:rPr lang="de-DE" spc="-10"/>
              <a:t> • </a:t>
            </a:r>
            <a:r>
              <a:rPr lang="de-DE" spc="-5"/>
              <a:t>Prof. </a:t>
            </a:r>
            <a:r>
              <a:rPr lang="de-DE" spc="-10"/>
              <a:t>Dr. Agnes Koschmider • Data Engineering</a:t>
            </a:r>
            <a:endParaRPr lang="de-DE" spc="-10" dirty="0"/>
          </a:p>
        </p:txBody>
      </p:sp>
      <p:sp>
        <p:nvSpPr>
          <p:cNvPr id="5" name="Fußzeilenplatzhalter 4">
            <a:extLst>
              <a:ext uri="{FF2B5EF4-FFF2-40B4-BE49-F238E27FC236}">
                <a16:creationId xmlns:a16="http://schemas.microsoft.com/office/drawing/2014/main" id="{2F4AE3AA-429B-4AF7-A412-A345FB5260F1}"/>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pic>
        <p:nvPicPr>
          <p:cNvPr id="6" name="Inhaltsplatzhalter 4">
            <a:extLst>
              <a:ext uri="{FF2B5EF4-FFF2-40B4-BE49-F238E27FC236}">
                <a16:creationId xmlns:a16="http://schemas.microsoft.com/office/drawing/2014/main" id="{AC404E19-8BD6-4B46-AC6E-2FBAC71A839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49875" y="1295327"/>
            <a:ext cx="4492251" cy="4953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7438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FBCAB6-C363-7665-BA55-CDF5478E8D68}"/>
              </a:ext>
            </a:extLst>
          </p:cNvPr>
          <p:cNvSpPr>
            <a:spLocks noGrp="1"/>
          </p:cNvSpPr>
          <p:nvPr>
            <p:ph type="title"/>
          </p:nvPr>
        </p:nvSpPr>
        <p:spPr/>
        <p:txBody>
          <a:bodyPr/>
          <a:lstStyle/>
          <a:p>
            <a:r>
              <a:rPr lang="de-DE" dirty="0"/>
              <a:t>QR-Code für die Kursanmeldung</a:t>
            </a:r>
          </a:p>
        </p:txBody>
      </p:sp>
      <p:sp>
        <p:nvSpPr>
          <p:cNvPr id="4" name="Foliennummernplatzhalter 3">
            <a:extLst>
              <a:ext uri="{FF2B5EF4-FFF2-40B4-BE49-F238E27FC236}">
                <a16:creationId xmlns:a16="http://schemas.microsoft.com/office/drawing/2014/main" id="{17177988-30B0-0E2B-5AE8-4DE39E1B37D2}"/>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42</a:t>
            </a:fld>
            <a:r>
              <a:rPr lang="de-DE" spc="-10"/>
              <a:t> • </a:t>
            </a:r>
            <a:r>
              <a:rPr lang="de-DE" spc="-5"/>
              <a:t>Prof. </a:t>
            </a:r>
            <a:r>
              <a:rPr lang="de-DE" spc="-10"/>
              <a:t>Dr. Agnes Koschmider • Data Engineering</a:t>
            </a:r>
            <a:endParaRPr lang="de-DE" spc="-10" dirty="0"/>
          </a:p>
        </p:txBody>
      </p:sp>
      <p:sp>
        <p:nvSpPr>
          <p:cNvPr id="5" name="Fußzeilenplatzhalter 4">
            <a:extLst>
              <a:ext uri="{FF2B5EF4-FFF2-40B4-BE49-F238E27FC236}">
                <a16:creationId xmlns:a16="http://schemas.microsoft.com/office/drawing/2014/main" id="{1C049665-ADC8-F2DF-400D-6C7507C95753}"/>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pic>
        <p:nvPicPr>
          <p:cNvPr id="8" name="Grafik 7">
            <a:extLst>
              <a:ext uri="{FF2B5EF4-FFF2-40B4-BE49-F238E27FC236}">
                <a16:creationId xmlns:a16="http://schemas.microsoft.com/office/drawing/2014/main" id="{DB1F6D94-459F-5D07-25D9-AD7E2A01D87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39411" y="1676400"/>
            <a:ext cx="3713178" cy="4724400"/>
          </a:xfrm>
          <a:prstGeom prst="rect">
            <a:avLst/>
          </a:prstGeom>
        </p:spPr>
      </p:pic>
    </p:spTree>
    <p:extLst>
      <p:ext uri="{BB962C8B-B14F-4D97-AF65-F5344CB8AC3E}">
        <p14:creationId xmlns:p14="http://schemas.microsoft.com/office/powerpoint/2010/main" val="14512137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CB36C6-BA53-E000-33B1-4C33533923BC}"/>
              </a:ext>
            </a:extLst>
          </p:cNvPr>
          <p:cNvSpPr>
            <a:spLocks noGrp="1"/>
          </p:cNvSpPr>
          <p:nvPr>
            <p:ph type="title"/>
          </p:nvPr>
        </p:nvSpPr>
        <p:spPr/>
        <p:txBody>
          <a:bodyPr/>
          <a:lstStyle/>
          <a:p>
            <a:r>
              <a:rPr lang="en-US" dirty="0" err="1"/>
              <a:t>Organisation</a:t>
            </a:r>
            <a:endParaRPr lang="en-DE" dirty="0"/>
          </a:p>
        </p:txBody>
      </p:sp>
      <p:graphicFrame>
        <p:nvGraphicFramePr>
          <p:cNvPr id="7" name="Table 7">
            <a:extLst>
              <a:ext uri="{FF2B5EF4-FFF2-40B4-BE49-F238E27FC236}">
                <a16:creationId xmlns:a16="http://schemas.microsoft.com/office/drawing/2014/main" id="{33A21FB5-6AB7-4A69-9784-B67DA5A67838}"/>
              </a:ext>
            </a:extLst>
          </p:cNvPr>
          <p:cNvGraphicFramePr>
            <a:graphicFrameLocks noGrp="1"/>
          </p:cNvGraphicFramePr>
          <p:nvPr>
            <p:extLst>
              <p:ext uri="{D42A27DB-BD31-4B8C-83A1-F6EECF244321}">
                <p14:modId xmlns:p14="http://schemas.microsoft.com/office/powerpoint/2010/main" val="792163992"/>
              </p:ext>
            </p:extLst>
          </p:nvPr>
        </p:nvGraphicFramePr>
        <p:xfrm>
          <a:off x="2743200" y="897560"/>
          <a:ext cx="5181600" cy="5191760"/>
        </p:xfrm>
        <a:graphic>
          <a:graphicData uri="http://schemas.openxmlformats.org/drawingml/2006/table">
            <a:tbl>
              <a:tblPr firstRow="1" bandRow="1">
                <a:tableStyleId>{5C22544A-7EE6-4342-B048-85BDC9FD1C3A}</a:tableStyleId>
              </a:tblPr>
              <a:tblGrid>
                <a:gridCol w="1676400">
                  <a:extLst>
                    <a:ext uri="{9D8B030D-6E8A-4147-A177-3AD203B41FA5}">
                      <a16:colId xmlns:a16="http://schemas.microsoft.com/office/drawing/2014/main" val="1316357014"/>
                    </a:ext>
                  </a:extLst>
                </a:gridCol>
                <a:gridCol w="3505200">
                  <a:extLst>
                    <a:ext uri="{9D8B030D-6E8A-4147-A177-3AD203B41FA5}">
                      <a16:colId xmlns:a16="http://schemas.microsoft.com/office/drawing/2014/main" val="2780822648"/>
                    </a:ext>
                  </a:extLst>
                </a:gridCol>
              </a:tblGrid>
              <a:tr h="370840">
                <a:tc>
                  <a:txBody>
                    <a:bodyPr/>
                    <a:lstStyle/>
                    <a:p>
                      <a:r>
                        <a:rPr lang="en-GB" dirty="0" err="1">
                          <a:solidFill>
                            <a:schemeClr val="tx1"/>
                          </a:solidFill>
                          <a:latin typeface="Trebuchet MS" panose="020B0603020202020204" pitchFamily="34" charset="0"/>
                        </a:rPr>
                        <a:t>Termin</a:t>
                      </a:r>
                      <a:endParaRPr lang="de-DE" dirty="0">
                        <a:solidFill>
                          <a:schemeClr val="tx1"/>
                        </a:solidFill>
                        <a:latin typeface="Trebuchet MS" panose="020B0603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3895E">
                        <a:alpha val="50196"/>
                      </a:srgbClr>
                    </a:solidFill>
                  </a:tcPr>
                </a:tc>
                <a:tc>
                  <a:txBody>
                    <a:bodyPr/>
                    <a:lstStyle/>
                    <a:p>
                      <a:r>
                        <a:rPr lang="en-GB" dirty="0" err="1">
                          <a:solidFill>
                            <a:schemeClr val="tx1"/>
                          </a:solidFill>
                          <a:latin typeface="Trebuchet MS" panose="020B0603020202020204" pitchFamily="34" charset="0"/>
                        </a:rPr>
                        <a:t>Vorhaben</a:t>
                      </a:r>
                      <a:endParaRPr lang="de-DE" dirty="0">
                        <a:solidFill>
                          <a:schemeClr val="tx1"/>
                        </a:solidFill>
                        <a:latin typeface="Trebuchet MS" panose="020B0603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3895E">
                        <a:alpha val="50196"/>
                      </a:srgbClr>
                    </a:solidFill>
                  </a:tcPr>
                </a:tc>
                <a:extLst>
                  <a:ext uri="{0D108BD9-81ED-4DB2-BD59-A6C34878D82A}">
                    <a16:rowId xmlns:a16="http://schemas.microsoft.com/office/drawing/2014/main" val="1201814362"/>
                  </a:ext>
                </a:extLst>
              </a:tr>
              <a:tr h="370840">
                <a:tc>
                  <a:txBody>
                    <a:bodyPr/>
                    <a:lstStyle/>
                    <a:p>
                      <a:r>
                        <a:rPr lang="en-GB" dirty="0">
                          <a:latin typeface="Trebuchet MS" panose="020B0603020202020204" pitchFamily="34" charset="0"/>
                        </a:rPr>
                        <a:t>16.04.2024</a:t>
                      </a:r>
                      <a:endParaRPr lang="de-DE" dirty="0">
                        <a:latin typeface="Trebuchet MS" panose="020B0603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DE" dirty="0">
                          <a:latin typeface="Trebuchet MS" panose="020B0603020202020204" pitchFamily="34" charset="0"/>
                        </a:rPr>
                        <a:t>Vorlesu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45594661"/>
                  </a:ext>
                </a:extLst>
              </a:tr>
              <a:tr h="370840">
                <a:tc>
                  <a:txBody>
                    <a:bodyPr/>
                    <a:lstStyle/>
                    <a:p>
                      <a:r>
                        <a:rPr lang="en-GB" dirty="0">
                          <a:latin typeface="Trebuchet MS" panose="020B0603020202020204" pitchFamily="34" charset="0"/>
                        </a:rPr>
                        <a:t>23.04.2024</a:t>
                      </a:r>
                      <a:endParaRPr lang="de-DE" dirty="0">
                        <a:latin typeface="Trebuchet MS" panose="020B0603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DE" dirty="0">
                          <a:latin typeface="Trebuchet MS" panose="020B0603020202020204" pitchFamily="34" charset="0"/>
                        </a:rPr>
                        <a:t>Vorlesung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7352435"/>
                  </a:ext>
                </a:extLst>
              </a:tr>
              <a:tr h="370840">
                <a:tc>
                  <a:txBody>
                    <a:bodyPr/>
                    <a:lstStyle/>
                    <a:p>
                      <a:r>
                        <a:rPr lang="en-GB" dirty="0">
                          <a:latin typeface="Trebuchet MS" panose="020B0603020202020204" pitchFamily="34" charset="0"/>
                        </a:rPr>
                        <a:t>30.04.2024</a:t>
                      </a:r>
                      <a:endParaRPr lang="de-DE" dirty="0">
                        <a:latin typeface="Trebuchet MS" panose="020B0603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DE" b="0" dirty="0">
                          <a:latin typeface="Trebuchet MS" panose="020B0603020202020204" pitchFamily="34" charset="0"/>
                        </a:rPr>
                        <a:t>Vorlesu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66769512"/>
                  </a:ext>
                </a:extLst>
              </a:tr>
              <a:tr h="370840">
                <a:tc>
                  <a:txBody>
                    <a:bodyPr/>
                    <a:lstStyle/>
                    <a:p>
                      <a:r>
                        <a:rPr lang="en-GB" dirty="0">
                          <a:latin typeface="Trebuchet MS" panose="020B0603020202020204" pitchFamily="34" charset="0"/>
                        </a:rPr>
                        <a:t>07.05.2024</a:t>
                      </a:r>
                      <a:endParaRPr lang="de-DE" dirty="0">
                        <a:latin typeface="Trebuchet MS" panose="020B0603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DE" dirty="0">
                          <a:latin typeface="Trebuchet MS" panose="020B0603020202020204" pitchFamily="34" charset="0"/>
                        </a:rPr>
                        <a:t>Vorlesung + Übu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78422449"/>
                  </a:ext>
                </a:extLst>
              </a:tr>
              <a:tr h="370840">
                <a:tc>
                  <a:txBody>
                    <a:bodyPr/>
                    <a:lstStyle/>
                    <a:p>
                      <a:r>
                        <a:rPr lang="en-GB" dirty="0">
                          <a:latin typeface="Trebuchet MS" panose="020B0603020202020204" pitchFamily="34" charset="0"/>
                        </a:rPr>
                        <a:t>14.05.2024</a:t>
                      </a:r>
                      <a:endParaRPr lang="de-DE" dirty="0">
                        <a:latin typeface="Trebuchet MS" panose="020B0603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DE" dirty="0">
                          <a:latin typeface="Trebuchet MS" panose="020B0603020202020204" pitchFamily="34" charset="0"/>
                        </a:rPr>
                        <a:t>Vorlesung + Übu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17628863"/>
                  </a:ext>
                </a:extLst>
              </a:tr>
              <a:tr h="370840">
                <a:tc>
                  <a:txBody>
                    <a:bodyPr/>
                    <a:lstStyle/>
                    <a:p>
                      <a:r>
                        <a:rPr lang="en-GB" dirty="0">
                          <a:latin typeface="Trebuchet MS" panose="020B0603020202020204" pitchFamily="34" charset="0"/>
                        </a:rPr>
                        <a:t>28.05.2024</a:t>
                      </a:r>
                      <a:endParaRPr lang="de-DE" dirty="0">
                        <a:latin typeface="Trebuchet MS" panose="020B0603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DE" dirty="0">
                          <a:latin typeface="Trebuchet MS" panose="020B0603020202020204" pitchFamily="34" charset="0"/>
                        </a:rPr>
                        <a:t>Vorlesung + Übu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38865216"/>
                  </a:ext>
                </a:extLst>
              </a:tr>
              <a:tr h="370840">
                <a:tc>
                  <a:txBody>
                    <a:bodyPr/>
                    <a:lstStyle/>
                    <a:p>
                      <a:r>
                        <a:rPr lang="en-GB" dirty="0">
                          <a:latin typeface="Trebuchet MS" panose="020B0603020202020204" pitchFamily="34" charset="0"/>
                        </a:rPr>
                        <a:t>10.06.2024</a:t>
                      </a:r>
                      <a:endParaRPr lang="de-DE" dirty="0">
                        <a:latin typeface="Trebuchet MS" panose="020B0603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DE" dirty="0">
                          <a:latin typeface="Trebuchet MS" panose="020B0603020202020204" pitchFamily="34" charset="0"/>
                        </a:rPr>
                        <a:t>Gastvortrag Prof. Dr. Busche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8164857"/>
                  </a:ext>
                </a:extLst>
              </a:tr>
              <a:tr h="370840">
                <a:tc>
                  <a:txBody>
                    <a:bodyPr/>
                    <a:lstStyle/>
                    <a:p>
                      <a:r>
                        <a:rPr lang="en-GB" dirty="0">
                          <a:latin typeface="Trebuchet MS" panose="020B0603020202020204" pitchFamily="34" charset="0"/>
                        </a:rPr>
                        <a:t>11.06.2024</a:t>
                      </a:r>
                      <a:endParaRPr lang="de-DE" dirty="0">
                        <a:latin typeface="Trebuchet MS" panose="020B0603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DE" dirty="0">
                          <a:latin typeface="Trebuchet MS" panose="020B0603020202020204" pitchFamily="34" charset="0"/>
                        </a:rPr>
                        <a:t>Gastvortrag Prof. Dr. Ledi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9009270"/>
                  </a:ext>
                </a:extLst>
              </a:tr>
              <a:tr h="370840">
                <a:tc>
                  <a:txBody>
                    <a:bodyPr/>
                    <a:lstStyle/>
                    <a:p>
                      <a:r>
                        <a:rPr lang="en-GB" dirty="0">
                          <a:latin typeface="Trebuchet MS" panose="020B0603020202020204" pitchFamily="34" charset="0"/>
                        </a:rPr>
                        <a:t>18.06.2024</a:t>
                      </a:r>
                      <a:endParaRPr lang="de-DE" dirty="0">
                        <a:latin typeface="Trebuchet MS" panose="020B0603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DE" dirty="0">
                          <a:latin typeface="Trebuchet MS" panose="020B0603020202020204" pitchFamily="34" charset="0"/>
                        </a:rPr>
                        <a:t>Gastvortrag Prof. Dr. Weße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4140587"/>
                  </a:ext>
                </a:extLst>
              </a:tr>
              <a:tr h="370840">
                <a:tc>
                  <a:txBody>
                    <a:bodyPr/>
                    <a:lstStyle/>
                    <a:p>
                      <a:r>
                        <a:rPr lang="en-GB" dirty="0">
                          <a:latin typeface="Trebuchet MS" panose="020B0603020202020204" pitchFamily="34" charset="0"/>
                        </a:rPr>
                        <a:t>25.06.2024</a:t>
                      </a:r>
                      <a:endParaRPr lang="de-DE" dirty="0">
                        <a:latin typeface="Trebuchet MS" panose="020B0603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DE" dirty="0">
                          <a:latin typeface="Trebuchet MS" panose="020B0603020202020204" pitchFamily="34" charset="0"/>
                        </a:rPr>
                        <a:t>Gastvortrag Prof. Dr. </a:t>
                      </a:r>
                      <a:r>
                        <a:rPr lang="de-DE" dirty="0" err="1">
                          <a:latin typeface="Trebuchet MS" panose="020B0603020202020204" pitchFamily="34" charset="0"/>
                        </a:rPr>
                        <a:t>Peinl</a:t>
                      </a:r>
                      <a:endParaRPr lang="de-DE" dirty="0">
                        <a:latin typeface="Trebuchet MS" panose="020B0603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57848673"/>
                  </a:ext>
                </a:extLst>
              </a:tr>
              <a:tr h="370840">
                <a:tc>
                  <a:txBody>
                    <a:bodyPr/>
                    <a:lstStyle/>
                    <a:p>
                      <a:r>
                        <a:rPr lang="en-GB" dirty="0">
                          <a:latin typeface="Trebuchet MS" panose="020B0603020202020204" pitchFamily="34" charset="0"/>
                        </a:rPr>
                        <a:t>02.07.2024</a:t>
                      </a:r>
                      <a:endParaRPr lang="de-DE" dirty="0">
                        <a:latin typeface="Trebuchet MS" panose="020B0603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de-DE" dirty="0">
                          <a:latin typeface="Trebuchet MS" panose="020B0603020202020204" pitchFamily="34" charset="0"/>
                        </a:rPr>
                        <a:t>Gastvortrag Dr. </a:t>
                      </a:r>
                      <a:r>
                        <a:rPr lang="de-DE" dirty="0" err="1">
                          <a:latin typeface="Trebuchet MS" panose="020B0603020202020204" pitchFamily="34" charset="0"/>
                        </a:rPr>
                        <a:t>Maczka</a:t>
                      </a:r>
                      <a:endParaRPr lang="de-DE" dirty="0">
                        <a:latin typeface="Trebuchet MS" panose="020B0603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05535594"/>
                  </a:ext>
                </a:extLst>
              </a:tr>
              <a:tr h="370840">
                <a:tc>
                  <a:txBody>
                    <a:bodyPr/>
                    <a:lstStyle/>
                    <a:p>
                      <a:r>
                        <a:rPr lang="de-DE" dirty="0">
                          <a:latin typeface="Trebuchet MS" panose="020B0603020202020204" pitchFamily="34" charset="0"/>
                        </a:rPr>
                        <a:t>09.07.20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de-DE" dirty="0">
                          <a:latin typeface="Trebuchet MS" panose="020B0603020202020204" pitchFamily="34" charset="0"/>
                        </a:rPr>
                        <a:t>Wiederholu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10515707"/>
                  </a:ext>
                </a:extLst>
              </a:tr>
              <a:tr h="370840">
                <a:tc>
                  <a:txBody>
                    <a:bodyPr/>
                    <a:lstStyle/>
                    <a:p>
                      <a:r>
                        <a:rPr lang="de-DE" dirty="0">
                          <a:latin typeface="Trebuchet MS" panose="020B0603020202020204" pitchFamily="34" charset="0"/>
                        </a:rPr>
                        <a:t>16.07.20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DE" dirty="0">
                          <a:latin typeface="Trebuchet MS" panose="020B0603020202020204" pitchFamily="34" charset="0"/>
                        </a:rPr>
                        <a:t>Q &amp; 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94024699"/>
                  </a:ext>
                </a:extLst>
              </a:tr>
            </a:tbl>
          </a:graphicData>
        </a:graphic>
      </p:graphicFrame>
      <p:sp>
        <p:nvSpPr>
          <p:cNvPr id="4" name="Footer Placeholder 3">
            <a:extLst>
              <a:ext uri="{FF2B5EF4-FFF2-40B4-BE49-F238E27FC236}">
                <a16:creationId xmlns:a16="http://schemas.microsoft.com/office/drawing/2014/main" id="{7CAE53A4-32AA-422B-B440-9792BE939223}"/>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
        <p:nvSpPr>
          <p:cNvPr id="5" name="Slide Number Placeholder 4">
            <a:extLst>
              <a:ext uri="{FF2B5EF4-FFF2-40B4-BE49-F238E27FC236}">
                <a16:creationId xmlns:a16="http://schemas.microsoft.com/office/drawing/2014/main" id="{DDB0EFCD-5DB2-496F-87ED-DF973A527E8C}"/>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43</a:t>
            </a:fld>
            <a:r>
              <a:rPr lang="de-DE" spc="-10" dirty="0"/>
              <a:t> • </a:t>
            </a:r>
            <a:r>
              <a:rPr lang="de-DE" spc="-5" dirty="0"/>
              <a:t>Prof. </a:t>
            </a:r>
            <a:r>
              <a:rPr lang="de-DE" spc="-10" dirty="0"/>
              <a:t>Dr. Agnes Koschmider• Generative KI</a:t>
            </a:r>
          </a:p>
        </p:txBody>
      </p:sp>
      <p:sp>
        <p:nvSpPr>
          <p:cNvPr id="3" name="Rechteck: abgerundete Ecken 2">
            <a:extLst>
              <a:ext uri="{FF2B5EF4-FFF2-40B4-BE49-F238E27FC236}">
                <a16:creationId xmlns:a16="http://schemas.microsoft.com/office/drawing/2014/main" id="{E8C6FE1E-A04F-1F2E-B85C-85A9A6AB70A7}"/>
              </a:ext>
            </a:extLst>
          </p:cNvPr>
          <p:cNvSpPr/>
          <p:nvPr/>
        </p:nvSpPr>
        <p:spPr>
          <a:xfrm>
            <a:off x="8229600" y="2819400"/>
            <a:ext cx="3429000" cy="1828800"/>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de-DE" sz="4800" b="1" dirty="0"/>
              <a:t>Yorck</a:t>
            </a:r>
          </a:p>
        </p:txBody>
      </p:sp>
    </p:spTree>
    <p:extLst>
      <p:ext uri="{BB962C8B-B14F-4D97-AF65-F5344CB8AC3E}">
        <p14:creationId xmlns:p14="http://schemas.microsoft.com/office/powerpoint/2010/main" val="9103851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E81544-0718-AFB4-EFB5-D8BEBAB1D8C5}"/>
              </a:ext>
            </a:extLst>
          </p:cNvPr>
          <p:cNvSpPr>
            <a:spLocks noGrp="1"/>
          </p:cNvSpPr>
          <p:nvPr>
            <p:ph type="title"/>
          </p:nvPr>
        </p:nvSpPr>
        <p:spPr/>
        <p:txBody>
          <a:bodyPr/>
          <a:lstStyle/>
          <a:p>
            <a:r>
              <a:rPr lang="de-DE" dirty="0"/>
              <a:t>Forschung Generative KI</a:t>
            </a:r>
          </a:p>
        </p:txBody>
      </p:sp>
      <p:sp>
        <p:nvSpPr>
          <p:cNvPr id="3" name="Textplatzhalter 2">
            <a:extLst>
              <a:ext uri="{FF2B5EF4-FFF2-40B4-BE49-F238E27FC236}">
                <a16:creationId xmlns:a16="http://schemas.microsoft.com/office/drawing/2014/main" id="{DC2A5DEB-ACBC-BDFA-2DA6-F1608C1590A8}"/>
              </a:ext>
            </a:extLst>
          </p:cNvPr>
          <p:cNvSpPr>
            <a:spLocks noGrp="1"/>
          </p:cNvSpPr>
          <p:nvPr>
            <p:ph type="body" idx="1"/>
          </p:nvPr>
        </p:nvSpPr>
        <p:spPr>
          <a:xfrm>
            <a:off x="287861" y="1483803"/>
            <a:ext cx="5427140" cy="276999"/>
          </a:xfrm>
        </p:spPr>
        <p:txBody>
          <a:bodyPr/>
          <a:lstStyle/>
          <a:p>
            <a:r>
              <a:rPr lang="de-DE" dirty="0"/>
              <a:t>Generative KI unterstützt Anwendung</a:t>
            </a:r>
          </a:p>
        </p:txBody>
      </p:sp>
      <p:sp>
        <p:nvSpPr>
          <p:cNvPr id="4" name="Foliennummernplatzhalter 3">
            <a:extLst>
              <a:ext uri="{FF2B5EF4-FFF2-40B4-BE49-F238E27FC236}">
                <a16:creationId xmlns:a16="http://schemas.microsoft.com/office/drawing/2014/main" id="{1236F57A-150C-5CC1-0B6D-59D6591361E0}"/>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44</a:t>
            </a:fld>
            <a:r>
              <a:rPr lang="de-DE" spc="-10" dirty="0"/>
              <a:t> • </a:t>
            </a:r>
            <a:r>
              <a:rPr lang="de-DE" spc="-5" dirty="0"/>
              <a:t>Prof. </a:t>
            </a:r>
            <a:r>
              <a:rPr lang="de-DE" spc="-10" dirty="0"/>
              <a:t>Dr. Agnes Koschmider • Generative KI</a:t>
            </a:r>
          </a:p>
        </p:txBody>
      </p:sp>
      <p:sp>
        <p:nvSpPr>
          <p:cNvPr id="5" name="Fußzeilenplatzhalter 4">
            <a:extLst>
              <a:ext uri="{FF2B5EF4-FFF2-40B4-BE49-F238E27FC236}">
                <a16:creationId xmlns:a16="http://schemas.microsoft.com/office/drawing/2014/main" id="{0F68270B-CFC8-1756-851F-37822CF6A99C}"/>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
        <p:nvSpPr>
          <p:cNvPr id="6" name="Rechteck: abgerundete Ecken 5">
            <a:extLst>
              <a:ext uri="{FF2B5EF4-FFF2-40B4-BE49-F238E27FC236}">
                <a16:creationId xmlns:a16="http://schemas.microsoft.com/office/drawing/2014/main" id="{10697B0B-D061-6F53-DED4-795A146A6E6B}"/>
              </a:ext>
            </a:extLst>
          </p:cNvPr>
          <p:cNvSpPr/>
          <p:nvPr/>
        </p:nvSpPr>
        <p:spPr>
          <a:xfrm>
            <a:off x="7010400" y="3886200"/>
            <a:ext cx="3429000" cy="1828800"/>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de-DE" sz="4800" b="1" dirty="0"/>
              <a:t>Yorck</a:t>
            </a:r>
          </a:p>
        </p:txBody>
      </p:sp>
      <p:pic>
        <p:nvPicPr>
          <p:cNvPr id="8" name="Grafik 7">
            <a:extLst>
              <a:ext uri="{FF2B5EF4-FFF2-40B4-BE49-F238E27FC236}">
                <a16:creationId xmlns:a16="http://schemas.microsoft.com/office/drawing/2014/main" id="{AFE1F70F-2B97-A1DD-B289-0CC632E583F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8530"/>
          <a:stretch/>
        </p:blipFill>
        <p:spPr>
          <a:xfrm>
            <a:off x="223913" y="1885890"/>
            <a:ext cx="5624456" cy="3200400"/>
          </a:xfrm>
          <a:prstGeom prst="rect">
            <a:avLst/>
          </a:prstGeom>
        </p:spPr>
      </p:pic>
      <p:sp>
        <p:nvSpPr>
          <p:cNvPr id="9" name="Textfeld 8">
            <a:extLst>
              <a:ext uri="{FF2B5EF4-FFF2-40B4-BE49-F238E27FC236}">
                <a16:creationId xmlns:a16="http://schemas.microsoft.com/office/drawing/2014/main" id="{7AEBAC88-6E04-20CE-0FD8-30C5A164CDB0}"/>
              </a:ext>
            </a:extLst>
          </p:cNvPr>
          <p:cNvSpPr txBox="1"/>
          <p:nvPr/>
        </p:nvSpPr>
        <p:spPr>
          <a:xfrm>
            <a:off x="287860" y="5086290"/>
            <a:ext cx="3619902" cy="400110"/>
          </a:xfrm>
          <a:prstGeom prst="rect">
            <a:avLst/>
          </a:prstGeom>
          <a:noFill/>
        </p:spPr>
        <p:txBody>
          <a:bodyPr wrap="none" rtlCol="0">
            <a:spAutoFit/>
          </a:bodyPr>
          <a:lstStyle/>
          <a:p>
            <a:r>
              <a:rPr lang="en-US" sz="1000" b="0" i="0" u="none" strike="noStrike" baseline="0" dirty="0">
                <a:solidFill>
                  <a:schemeClr val="bg1">
                    <a:lumMod val="50000"/>
                  </a:schemeClr>
                </a:solidFill>
                <a:latin typeface="Times New Roman" panose="02020603050405020304" pitchFamily="18" charset="0"/>
              </a:rPr>
              <a:t>Jessen, U., </a:t>
            </a:r>
            <a:r>
              <a:rPr lang="en-US" sz="1000" b="0" i="0" u="none" strike="noStrike" baseline="0" dirty="0" err="1">
                <a:solidFill>
                  <a:schemeClr val="bg1">
                    <a:lumMod val="50000"/>
                  </a:schemeClr>
                </a:solidFill>
                <a:latin typeface="Times New Roman" panose="02020603050405020304" pitchFamily="18" charset="0"/>
              </a:rPr>
              <a:t>Sroka</a:t>
            </a:r>
            <a:r>
              <a:rPr lang="en-US" sz="1000" b="0" i="0" u="none" strike="noStrike" baseline="0" dirty="0">
                <a:solidFill>
                  <a:schemeClr val="bg1">
                    <a:lumMod val="50000"/>
                  </a:schemeClr>
                </a:solidFill>
                <a:latin typeface="Times New Roman" panose="02020603050405020304" pitchFamily="18" charset="0"/>
              </a:rPr>
              <a:t>, M. &amp; </a:t>
            </a:r>
            <a:r>
              <a:rPr lang="en-US" sz="1000" b="0" i="0" u="none" strike="noStrike" baseline="0" dirty="0" err="1">
                <a:solidFill>
                  <a:schemeClr val="bg1">
                    <a:lumMod val="50000"/>
                  </a:schemeClr>
                </a:solidFill>
                <a:latin typeface="Times New Roman" panose="02020603050405020304" pitchFamily="18" charset="0"/>
              </a:rPr>
              <a:t>Fahland</a:t>
            </a:r>
            <a:r>
              <a:rPr lang="en-US" sz="1000" b="0" i="0" u="none" strike="noStrike" baseline="0" dirty="0">
                <a:solidFill>
                  <a:schemeClr val="bg1">
                    <a:lumMod val="50000"/>
                  </a:schemeClr>
                </a:solidFill>
                <a:latin typeface="Times New Roman" panose="02020603050405020304" pitchFamily="18" charset="0"/>
              </a:rPr>
              <a:t>, D. (2023).</a:t>
            </a:r>
          </a:p>
          <a:p>
            <a:r>
              <a:rPr lang="en-US" sz="1000" b="0" i="1" u="none" strike="noStrike" baseline="0" dirty="0">
                <a:solidFill>
                  <a:schemeClr val="bg1">
                    <a:lumMod val="50000"/>
                  </a:schemeClr>
                </a:solidFill>
                <a:latin typeface="Times New Roman" panose="02020603050405020304" pitchFamily="18" charset="0"/>
              </a:rPr>
              <a:t>Chit-Chat or Deep Talk: Prompt Engineering for Process Mining</a:t>
            </a:r>
            <a:r>
              <a:rPr lang="en-US" sz="1000" b="0" i="0" u="none" strike="noStrike" baseline="0" dirty="0">
                <a:solidFill>
                  <a:schemeClr val="bg1">
                    <a:lumMod val="50000"/>
                  </a:schemeClr>
                </a:solidFill>
                <a:latin typeface="Times New Roman" panose="02020603050405020304" pitchFamily="18" charset="0"/>
              </a:rPr>
              <a:t>. </a:t>
            </a:r>
            <a:endParaRPr lang="de-DE" sz="1000" dirty="0">
              <a:solidFill>
                <a:schemeClr val="bg1">
                  <a:lumMod val="50000"/>
                </a:schemeClr>
              </a:solidFill>
            </a:endParaRPr>
          </a:p>
        </p:txBody>
      </p:sp>
    </p:spTree>
    <p:extLst>
      <p:ext uri="{BB962C8B-B14F-4D97-AF65-F5344CB8AC3E}">
        <p14:creationId xmlns:p14="http://schemas.microsoft.com/office/powerpoint/2010/main" val="33454907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3D7846-7422-747E-3594-E0479FB67680}"/>
              </a:ext>
            </a:extLst>
          </p:cNvPr>
          <p:cNvSpPr>
            <a:spLocks noGrp="1"/>
          </p:cNvSpPr>
          <p:nvPr>
            <p:ph type="title"/>
          </p:nvPr>
        </p:nvSpPr>
        <p:spPr/>
        <p:txBody>
          <a:bodyPr/>
          <a:lstStyle/>
          <a:p>
            <a:r>
              <a:rPr lang="en-US">
                <a:latin typeface="Trebuchet MS" panose="020B0603020202020204" pitchFamily="34" charset="0"/>
              </a:rPr>
              <a:t>Synthetische Daten</a:t>
            </a:r>
            <a:endParaRPr lang="en-DE" dirty="0">
              <a:latin typeface="Trebuchet MS" panose="020B0603020202020204" pitchFamily="34" charset="0"/>
            </a:endParaRPr>
          </a:p>
        </p:txBody>
      </p:sp>
      <p:pic>
        <p:nvPicPr>
          <p:cNvPr id="6" name="Grafik 5" descr="Ein Bild, das Text, Screenshot enthält.&#10;&#10;Beschreibung automatisch generiert.">
            <a:extLst>
              <a:ext uri="{FF2B5EF4-FFF2-40B4-BE49-F238E27FC236}">
                <a16:creationId xmlns:a16="http://schemas.microsoft.com/office/drawing/2014/main" id="{6F08BA54-FE07-248E-EAAC-E73375149510}"/>
              </a:ext>
            </a:extLst>
          </p:cNvPr>
          <p:cNvPicPr>
            <a:picLocks noChangeAspect="1"/>
          </p:cNvPicPr>
          <p:nvPr/>
        </p:nvPicPr>
        <p:blipFill rotWithShape="1">
          <a:blip r:embed="rId2"/>
          <a:srcRect l="1523" t="11681" b="339"/>
          <a:stretch/>
        </p:blipFill>
        <p:spPr>
          <a:xfrm>
            <a:off x="988455" y="3847497"/>
            <a:ext cx="2745298" cy="1842449"/>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p:spPr>
      </p:pic>
      <p:pic>
        <p:nvPicPr>
          <p:cNvPr id="7" name="Grafik 6" descr="Ein Bild, das Computer, Text, Anzeigegerät, Display enthält.&#10;&#10;Beschreibung automatisch generiert.">
            <a:extLst>
              <a:ext uri="{FF2B5EF4-FFF2-40B4-BE49-F238E27FC236}">
                <a16:creationId xmlns:a16="http://schemas.microsoft.com/office/drawing/2014/main" id="{642F0A1E-6FE1-56B3-BB15-1058A97FC4A6}"/>
              </a:ext>
            </a:extLst>
          </p:cNvPr>
          <p:cNvPicPr>
            <a:picLocks noChangeAspect="1"/>
          </p:cNvPicPr>
          <p:nvPr/>
        </p:nvPicPr>
        <p:blipFill rotWithShape="1">
          <a:blip r:embed="rId3"/>
          <a:srcRect t="6074" r="131" b="-249"/>
          <a:stretch/>
        </p:blipFill>
        <p:spPr>
          <a:xfrm>
            <a:off x="4722129" y="3840560"/>
            <a:ext cx="2749975" cy="1840051"/>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p:spPr>
      </p:pic>
      <p:sp>
        <p:nvSpPr>
          <p:cNvPr id="8" name="TextBox 4">
            <a:extLst>
              <a:ext uri="{FF2B5EF4-FFF2-40B4-BE49-F238E27FC236}">
                <a16:creationId xmlns:a16="http://schemas.microsoft.com/office/drawing/2014/main" id="{C311E5A3-08A7-E532-9FBF-67C95F4C2292}"/>
              </a:ext>
            </a:extLst>
          </p:cNvPr>
          <p:cNvSpPr txBox="1">
            <a:spLocks/>
          </p:cNvSpPr>
          <p:nvPr/>
        </p:nvSpPr>
        <p:spPr>
          <a:xfrm>
            <a:off x="1589717" y="5736557"/>
            <a:ext cx="1537728" cy="733278"/>
          </a:xfrm>
          <a:prstGeom prst="rect">
            <a:avLst/>
          </a:prstGeom>
          <a:noFill/>
          <a:ln>
            <a:noFill/>
          </a:ln>
          <a:effectLst>
            <a:softEdge rad="0"/>
          </a:effectLst>
        </p:spPr>
        <p:style>
          <a:lnRef idx="2">
            <a:schemeClr val="accent5"/>
          </a:lnRef>
          <a:fillRef idx="1">
            <a:schemeClr val="lt1"/>
          </a:fillRef>
          <a:effectRef idx="0">
            <a:schemeClr val="accent5"/>
          </a:effectRef>
          <a:fontRef idx="minor">
            <a:schemeClr val="dk1"/>
          </a:fontRef>
        </p:style>
        <p:txBody>
          <a:bodyPr vert="horz" wrap="none" lIns="72000" tIns="36000" rIns="0" bIns="0" rtlCol="0" anchor="t" anchorCtr="0">
            <a:normAutofit/>
          </a:bodyPr>
          <a:lstStyle/>
          <a:p>
            <a:pPr algn="ctr"/>
            <a:r>
              <a:rPr lang="en-DE" sz="2000" b="1">
                <a:solidFill>
                  <a:schemeClr val="tx1"/>
                </a:solidFill>
                <a:latin typeface="Trebuchet MS" panose="020B0603020202020204" pitchFamily="34" charset="0"/>
              </a:rPr>
              <a:t>Simulations</a:t>
            </a:r>
            <a:r>
              <a:rPr lang="en-DE" b="1">
                <a:solidFill>
                  <a:schemeClr val="tx1"/>
                </a:solidFill>
                <a:latin typeface="Trebuchet MS" panose="020B0603020202020204" pitchFamily="34" charset="0"/>
              </a:rPr>
              <a:t>-</a:t>
            </a:r>
            <a:endParaRPr lang="de-DE" b="1">
              <a:solidFill>
                <a:schemeClr val="tx1"/>
              </a:solidFill>
              <a:latin typeface="Trebuchet MS" panose="020B0603020202020204" pitchFamily="34" charset="0"/>
            </a:endParaRPr>
          </a:p>
          <a:p>
            <a:pPr algn="ctr"/>
            <a:r>
              <a:rPr lang="en-DE" b="1">
                <a:solidFill>
                  <a:schemeClr val="tx1"/>
                </a:solidFill>
                <a:latin typeface="Trebuchet MS" panose="020B0603020202020204" pitchFamily="34" charset="0"/>
              </a:rPr>
              <a:t>basiert</a:t>
            </a:r>
            <a:endParaRPr lang="de-DE" b="1">
              <a:solidFill>
                <a:schemeClr val="tx1"/>
              </a:solidFill>
              <a:latin typeface="Trebuchet MS" panose="020B0603020202020204" pitchFamily="34" charset="0"/>
            </a:endParaRPr>
          </a:p>
        </p:txBody>
      </p:sp>
      <p:sp>
        <p:nvSpPr>
          <p:cNvPr id="9" name="TextBox 4">
            <a:extLst>
              <a:ext uri="{FF2B5EF4-FFF2-40B4-BE49-F238E27FC236}">
                <a16:creationId xmlns:a16="http://schemas.microsoft.com/office/drawing/2014/main" id="{83B0C82D-FEA7-9E76-1C81-CA62E9FD74F4}"/>
              </a:ext>
            </a:extLst>
          </p:cNvPr>
          <p:cNvSpPr txBox="1">
            <a:spLocks/>
          </p:cNvSpPr>
          <p:nvPr/>
        </p:nvSpPr>
        <p:spPr>
          <a:xfrm>
            <a:off x="5258280" y="5736557"/>
            <a:ext cx="1685076" cy="733277"/>
          </a:xfrm>
          <a:prstGeom prst="rect">
            <a:avLst/>
          </a:prstGeom>
          <a:noFill/>
          <a:ln>
            <a:noFill/>
          </a:ln>
          <a:effectLst>
            <a:softEdge rad="0"/>
          </a:effectLst>
        </p:spPr>
        <p:style>
          <a:lnRef idx="2">
            <a:schemeClr val="accent5"/>
          </a:lnRef>
          <a:fillRef idx="1">
            <a:schemeClr val="lt1"/>
          </a:fillRef>
          <a:effectRef idx="0">
            <a:schemeClr val="accent5"/>
          </a:effectRef>
          <a:fontRef idx="minor">
            <a:schemeClr val="dk1"/>
          </a:fontRef>
        </p:style>
        <p:txBody>
          <a:bodyPr vert="horz" wrap="none" lIns="72000" tIns="36000" rIns="0" bIns="0" rtlCol="0" anchor="t" anchorCtr="0">
            <a:normAutofit/>
          </a:bodyPr>
          <a:lstStyle/>
          <a:p>
            <a:pPr algn="ctr"/>
            <a:r>
              <a:rPr lang="en-DE" sz="2000" b="1">
                <a:solidFill>
                  <a:schemeClr val="tx1"/>
                </a:solidFill>
                <a:latin typeface="Trebuchet MS" panose="020B0603020202020204" pitchFamily="34" charset="0"/>
              </a:rPr>
              <a:t>Ähnlichkeits-</a:t>
            </a:r>
            <a:endParaRPr lang="de-DE" sz="2000" b="1">
              <a:solidFill>
                <a:schemeClr val="tx1"/>
              </a:solidFill>
              <a:latin typeface="Trebuchet MS" panose="020B0603020202020204" pitchFamily="34" charset="0"/>
            </a:endParaRPr>
          </a:p>
          <a:p>
            <a:pPr algn="ctr"/>
            <a:r>
              <a:rPr lang="en-DE" sz="2000" b="1">
                <a:solidFill>
                  <a:schemeClr val="tx1"/>
                </a:solidFill>
                <a:latin typeface="Trebuchet MS" panose="020B0603020202020204" pitchFamily="34" charset="0"/>
              </a:rPr>
              <a:t>basiert</a:t>
            </a:r>
            <a:endParaRPr lang="de-DE" sz="2000" b="1">
              <a:solidFill>
                <a:schemeClr val="tx1"/>
              </a:solidFill>
              <a:latin typeface="Trebuchet MS" panose="020B0603020202020204" pitchFamily="34" charset="0"/>
            </a:endParaRPr>
          </a:p>
        </p:txBody>
      </p:sp>
      <p:sp>
        <p:nvSpPr>
          <p:cNvPr id="10" name="TextBox 4">
            <a:extLst>
              <a:ext uri="{FF2B5EF4-FFF2-40B4-BE49-F238E27FC236}">
                <a16:creationId xmlns:a16="http://schemas.microsoft.com/office/drawing/2014/main" id="{8907042F-DFCF-E3C9-B4E0-51C96F09C5F4}"/>
              </a:ext>
            </a:extLst>
          </p:cNvPr>
          <p:cNvSpPr txBox="1">
            <a:spLocks/>
          </p:cNvSpPr>
          <p:nvPr/>
        </p:nvSpPr>
        <p:spPr>
          <a:xfrm>
            <a:off x="8896535" y="5736557"/>
            <a:ext cx="1874523" cy="733278"/>
          </a:xfrm>
          <a:prstGeom prst="rect">
            <a:avLst/>
          </a:prstGeom>
          <a:noFill/>
          <a:ln>
            <a:noFill/>
          </a:ln>
          <a:effectLst>
            <a:softEdge rad="0"/>
          </a:effectLst>
        </p:spPr>
        <p:style>
          <a:lnRef idx="2">
            <a:schemeClr val="accent5"/>
          </a:lnRef>
          <a:fillRef idx="1">
            <a:schemeClr val="lt1"/>
          </a:fillRef>
          <a:effectRef idx="0">
            <a:schemeClr val="accent5"/>
          </a:effectRef>
          <a:fontRef idx="minor">
            <a:schemeClr val="dk1"/>
          </a:fontRef>
        </p:style>
        <p:txBody>
          <a:bodyPr vert="horz" wrap="none" lIns="72000" tIns="36000" rIns="0" bIns="0" rtlCol="0" anchor="t" anchorCtr="0">
            <a:normAutofit/>
          </a:bodyPr>
          <a:lstStyle/>
          <a:p>
            <a:pPr algn="ctr"/>
            <a:r>
              <a:rPr lang="en-DE" sz="2000" b="1">
                <a:solidFill>
                  <a:schemeClr val="tx1"/>
                </a:solidFill>
                <a:latin typeface="Trebuchet MS" panose="020B0603020202020204" pitchFamily="34" charset="0"/>
              </a:rPr>
              <a:t>Generative KI</a:t>
            </a:r>
            <a:r>
              <a:rPr lang="en-DE" b="1">
                <a:solidFill>
                  <a:schemeClr val="tx1"/>
                </a:solidFill>
                <a:latin typeface="Trebuchet MS" panose="020B0603020202020204" pitchFamily="34" charset="0"/>
              </a:rPr>
              <a:t>-</a:t>
            </a:r>
            <a:endParaRPr lang="de-DE" b="1">
              <a:solidFill>
                <a:schemeClr val="tx1"/>
              </a:solidFill>
              <a:latin typeface="Trebuchet MS" panose="020B0603020202020204" pitchFamily="34" charset="0"/>
            </a:endParaRPr>
          </a:p>
          <a:p>
            <a:pPr algn="ctr"/>
            <a:r>
              <a:rPr lang="en-DE" b="1">
                <a:solidFill>
                  <a:schemeClr val="tx1"/>
                </a:solidFill>
                <a:latin typeface="Trebuchet MS" panose="020B0603020202020204" pitchFamily="34" charset="0"/>
              </a:rPr>
              <a:t>basiert</a:t>
            </a:r>
            <a:endParaRPr lang="de-DE" b="1">
              <a:solidFill>
                <a:schemeClr val="tx1"/>
              </a:solidFill>
              <a:latin typeface="Trebuchet MS" panose="020B0603020202020204" pitchFamily="34" charset="0"/>
            </a:endParaRPr>
          </a:p>
        </p:txBody>
      </p:sp>
      <p:grpSp>
        <p:nvGrpSpPr>
          <p:cNvPr id="11" name="Gruppieren 10">
            <a:extLst>
              <a:ext uri="{FF2B5EF4-FFF2-40B4-BE49-F238E27FC236}">
                <a16:creationId xmlns:a16="http://schemas.microsoft.com/office/drawing/2014/main" id="{6A710CF8-DB66-0658-E7C1-7DB9E996E53D}"/>
              </a:ext>
            </a:extLst>
          </p:cNvPr>
          <p:cNvGrpSpPr/>
          <p:nvPr/>
        </p:nvGrpSpPr>
        <p:grpSpPr>
          <a:xfrm>
            <a:off x="1221573" y="1370858"/>
            <a:ext cx="9759820" cy="2549423"/>
            <a:chOff x="1375371" y="1196088"/>
            <a:chExt cx="9759820" cy="2549423"/>
          </a:xfrm>
          <a:effectLst/>
        </p:grpSpPr>
        <p:sp>
          <p:nvSpPr>
            <p:cNvPr id="12" name="Rechteck 4">
              <a:extLst>
                <a:ext uri="{FF2B5EF4-FFF2-40B4-BE49-F238E27FC236}">
                  <a16:creationId xmlns:a16="http://schemas.microsoft.com/office/drawing/2014/main" id="{94729B76-4D86-6FE9-4BDF-8E543CA854A9}"/>
                </a:ext>
              </a:extLst>
            </p:cNvPr>
            <p:cNvSpPr/>
            <p:nvPr/>
          </p:nvSpPr>
          <p:spPr>
            <a:xfrm>
              <a:off x="2261165" y="1661996"/>
              <a:ext cx="2809753" cy="456264"/>
            </a:xfrm>
            <a:prstGeom prst="roundRect">
              <a:avLst/>
            </a:prstGeom>
            <a:solidFill>
              <a:srgbClr val="D02C15"/>
            </a:solidFill>
            <a:ln/>
            <a:effectLst/>
          </p:spPr>
          <p:style>
            <a:lnRef idx="1">
              <a:schemeClr val="accent6"/>
            </a:lnRef>
            <a:fillRef idx="3">
              <a:schemeClr val="accent6"/>
            </a:fillRef>
            <a:effectRef idx="2">
              <a:schemeClr val="accent6"/>
            </a:effectRef>
            <a:fontRef idx="minor">
              <a:schemeClr val="lt1"/>
            </a:fontRef>
          </p:style>
          <p:txBody>
            <a:bodyPr lIns="91440" tIns="45720" rIns="91440" bIns="45720" rtlCol="0" anchor="ctr"/>
            <a:lstStyle/>
            <a:p>
              <a:pPr algn="ctr"/>
              <a:r>
                <a:rPr lang="de-DE">
                  <a:latin typeface="Trebuchet MS" panose="020B0603020202020204" pitchFamily="34" charset="0"/>
                </a:rPr>
                <a:t>Datensammelphase</a:t>
              </a:r>
            </a:p>
          </p:txBody>
        </p:sp>
        <p:cxnSp>
          <p:nvCxnSpPr>
            <p:cNvPr id="13" name="Gerade Verbindung mit Pfeil 12">
              <a:extLst>
                <a:ext uri="{FF2B5EF4-FFF2-40B4-BE49-F238E27FC236}">
                  <a16:creationId xmlns:a16="http://schemas.microsoft.com/office/drawing/2014/main" id="{335BF937-1FF8-AD01-0965-486EAB6F2ADF}"/>
                </a:ext>
              </a:extLst>
            </p:cNvPr>
            <p:cNvCxnSpPr/>
            <p:nvPr/>
          </p:nvCxnSpPr>
          <p:spPr>
            <a:xfrm flipV="1">
              <a:off x="2017552" y="3002559"/>
              <a:ext cx="7317994" cy="4195"/>
            </a:xfrm>
            <a:prstGeom prst="straightConnector1">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D335C1C2-3F91-849F-AC31-0682D871B7D5}"/>
                </a:ext>
              </a:extLst>
            </p:cNvPr>
            <p:cNvSpPr txBox="1"/>
            <p:nvPr/>
          </p:nvSpPr>
          <p:spPr>
            <a:xfrm>
              <a:off x="9009353" y="2776015"/>
              <a:ext cx="2125838" cy="969496"/>
            </a:xfrm>
            <a:prstGeom prst="rect">
              <a:avLst/>
            </a:prstGeom>
          </p:spPr>
          <p:txBody>
            <a:bodyPr vert="horz" wrap="square" lIns="0" tIns="0" rIns="0" bIns="0" rtlCol="0" anchor="t">
              <a:spAutoFit/>
            </a:bodyPr>
            <a:lstStyle/>
            <a:p>
              <a:pPr lvl="1">
                <a:lnSpc>
                  <a:spcPct val="150000"/>
                </a:lnSpc>
              </a:pPr>
              <a:r>
                <a:rPr lang="de-DE">
                  <a:solidFill>
                    <a:schemeClr val="bg1"/>
                  </a:solidFill>
                  <a:latin typeface="Trebuchet MS" panose="020B0603020202020204" pitchFamily="34" charset="0"/>
                </a:rPr>
                <a:t>Projektverlauf</a:t>
              </a:r>
            </a:p>
            <a:p>
              <a:pPr marL="742950" lvl="1" indent="-285750">
                <a:buFont typeface="Arial" panose="020B0604020202020204" pitchFamily="34" charset="0"/>
                <a:buChar char="•"/>
              </a:pPr>
              <a:endParaRPr lang="de-DE">
                <a:solidFill>
                  <a:schemeClr val="bg1"/>
                </a:solidFill>
                <a:latin typeface="Trebuchet MS" panose="020B0603020202020204" pitchFamily="34" charset="0"/>
              </a:endParaRPr>
            </a:p>
            <a:p>
              <a:pPr marL="742950" lvl="1" indent="-285750">
                <a:buFont typeface="Arial" panose="020B0604020202020204" pitchFamily="34" charset="0"/>
                <a:buChar char="•"/>
              </a:pPr>
              <a:endParaRPr lang="de-DE">
                <a:solidFill>
                  <a:schemeClr val="bg1"/>
                </a:solidFill>
                <a:latin typeface="Trebuchet MS" panose="020B0603020202020204" pitchFamily="34" charset="0"/>
              </a:endParaRPr>
            </a:p>
          </p:txBody>
        </p:sp>
        <p:cxnSp>
          <p:nvCxnSpPr>
            <p:cNvPr id="15" name="Gerade Verbindung mit Pfeil 14">
              <a:extLst>
                <a:ext uri="{FF2B5EF4-FFF2-40B4-BE49-F238E27FC236}">
                  <a16:creationId xmlns:a16="http://schemas.microsoft.com/office/drawing/2014/main" id="{4BC7951D-50DA-6A11-679A-3DAAF7023DB7}"/>
                </a:ext>
              </a:extLst>
            </p:cNvPr>
            <p:cNvCxnSpPr/>
            <p:nvPr/>
          </p:nvCxnSpPr>
          <p:spPr>
            <a:xfrm flipH="1">
              <a:off x="2162368" y="1594064"/>
              <a:ext cx="1398" cy="1370201"/>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514364B4-A823-8195-8A7D-5A452DCDDDAA}"/>
                </a:ext>
              </a:extLst>
            </p:cNvPr>
            <p:cNvSpPr txBox="1">
              <a:spLocks/>
            </p:cNvSpPr>
            <p:nvPr/>
          </p:nvSpPr>
          <p:spPr>
            <a:xfrm>
              <a:off x="1375371" y="1196088"/>
              <a:ext cx="2244682" cy="372538"/>
            </a:xfrm>
            <a:prstGeom prst="rect">
              <a:avLst/>
            </a:prstGeom>
            <a:effectLst>
              <a:reflection stA="40000" endPos="54000" dist="50800" dir="5400000" sy="-100000" algn="bl" rotWithShape="0"/>
            </a:effectLst>
          </p:spPr>
          <p:txBody>
            <a:bodyPr vert="horz" wrap="square" lIns="0" tIns="0" rIns="0" bIns="0" rtlCol="0" anchor="t">
              <a:spAutoFit/>
            </a:bodyPr>
            <a:lstStyle/>
            <a:p>
              <a:pPr lvl="1">
                <a:lnSpc>
                  <a:spcPct val="150000"/>
                </a:lnSpc>
              </a:pPr>
              <a:endParaRPr lang="de-DE" dirty="0">
                <a:latin typeface="Trebuchet MS" panose="020B0603020202020204" pitchFamily="34" charset="0"/>
              </a:endParaRPr>
            </a:p>
          </p:txBody>
        </p:sp>
        <p:sp>
          <p:nvSpPr>
            <p:cNvPr id="17" name="Rechteck 25">
              <a:extLst>
                <a:ext uri="{FF2B5EF4-FFF2-40B4-BE49-F238E27FC236}">
                  <a16:creationId xmlns:a16="http://schemas.microsoft.com/office/drawing/2014/main" id="{D589091C-223E-61F9-DED5-C28534900C2D}"/>
                </a:ext>
              </a:extLst>
            </p:cNvPr>
            <p:cNvSpPr/>
            <p:nvPr/>
          </p:nvSpPr>
          <p:spPr>
            <a:xfrm>
              <a:off x="5127404" y="1661996"/>
              <a:ext cx="4012176" cy="456264"/>
            </a:xfrm>
            <a:prstGeom prst="roundRect">
              <a:avLst/>
            </a:prstGeom>
            <a:solidFill>
              <a:schemeClr val="tx2"/>
            </a:solidFill>
            <a:ln/>
            <a:effectLst/>
          </p:spPr>
          <p:style>
            <a:lnRef idx="1">
              <a:schemeClr val="accent5"/>
            </a:lnRef>
            <a:fillRef idx="3">
              <a:schemeClr val="accent5"/>
            </a:fillRef>
            <a:effectRef idx="2">
              <a:schemeClr val="accent5"/>
            </a:effectRef>
            <a:fontRef idx="minor">
              <a:schemeClr val="lt1"/>
            </a:fontRef>
          </p:style>
          <p:txBody>
            <a:bodyPr lIns="91440" tIns="45720" rIns="91440" bIns="45720" rtlCol="0" anchor="ctr"/>
            <a:lstStyle/>
            <a:p>
              <a:pPr algn="ctr"/>
              <a:r>
                <a:rPr lang="de-DE">
                  <a:latin typeface="Trebuchet MS" panose="020B0603020202020204" pitchFamily="34" charset="0"/>
                </a:rPr>
                <a:t>Produktive Phase</a:t>
              </a:r>
            </a:p>
          </p:txBody>
        </p:sp>
        <p:sp>
          <p:nvSpPr>
            <p:cNvPr id="18" name="Rechteck 26">
              <a:extLst>
                <a:ext uri="{FF2B5EF4-FFF2-40B4-BE49-F238E27FC236}">
                  <a16:creationId xmlns:a16="http://schemas.microsoft.com/office/drawing/2014/main" id="{2B570296-F00B-E886-6920-2D36C8304234}"/>
                </a:ext>
              </a:extLst>
            </p:cNvPr>
            <p:cNvSpPr/>
            <p:nvPr/>
          </p:nvSpPr>
          <p:spPr>
            <a:xfrm>
              <a:off x="2261166" y="2241818"/>
              <a:ext cx="1219134" cy="685145"/>
            </a:xfrm>
            <a:prstGeom prst="roundRect">
              <a:avLst/>
            </a:prstGeom>
            <a:solidFill>
              <a:srgbClr val="038A5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DE" dirty="0">
                  <a:latin typeface="Trebuchet MS" panose="020B0603020202020204" pitchFamily="34" charset="0"/>
                </a:rPr>
                <a:t>Synth.</a:t>
              </a:r>
              <a:br>
                <a:rPr lang="de-DE" dirty="0">
                  <a:latin typeface="Trebuchet MS" panose="020B0603020202020204" pitchFamily="34" charset="0"/>
                </a:rPr>
              </a:br>
              <a:r>
                <a:rPr lang="de-DE" dirty="0">
                  <a:latin typeface="Trebuchet MS" panose="020B0603020202020204" pitchFamily="34" charset="0"/>
                </a:rPr>
                <a:t>Daten</a:t>
              </a:r>
            </a:p>
          </p:txBody>
        </p:sp>
        <p:sp>
          <p:nvSpPr>
            <p:cNvPr id="19" name="Rechteck 25">
              <a:extLst>
                <a:ext uri="{FF2B5EF4-FFF2-40B4-BE49-F238E27FC236}">
                  <a16:creationId xmlns:a16="http://schemas.microsoft.com/office/drawing/2014/main" id="{D663E8F3-ABE1-5418-CA9C-F9499B4C48A5}"/>
                </a:ext>
              </a:extLst>
            </p:cNvPr>
            <p:cNvSpPr/>
            <p:nvPr/>
          </p:nvSpPr>
          <p:spPr>
            <a:xfrm>
              <a:off x="3547664" y="2241818"/>
              <a:ext cx="5591916" cy="687660"/>
            </a:xfrm>
            <a:prstGeom prst="roundRect">
              <a:avLst/>
            </a:prstGeom>
            <a:solidFill>
              <a:schemeClr val="tx2"/>
            </a:solidFill>
            <a:ln/>
            <a:effectLst/>
          </p:spPr>
          <p:style>
            <a:lnRef idx="1">
              <a:schemeClr val="accent5"/>
            </a:lnRef>
            <a:fillRef idx="3">
              <a:schemeClr val="accent5"/>
            </a:fillRef>
            <a:effectRef idx="2">
              <a:schemeClr val="accent5"/>
            </a:effectRef>
            <a:fontRef idx="minor">
              <a:schemeClr val="lt1"/>
            </a:fontRef>
          </p:style>
          <p:txBody>
            <a:bodyPr lIns="91440" tIns="45720" rIns="91440" bIns="45720" rtlCol="0" anchor="ctr"/>
            <a:lstStyle/>
            <a:p>
              <a:pPr algn="ctr"/>
              <a:r>
                <a:rPr lang="de-DE" dirty="0">
                  <a:latin typeface="Trebuchet MS" panose="020B0603020202020204" pitchFamily="34" charset="0"/>
                </a:rPr>
                <a:t>Produktive Phase</a:t>
              </a:r>
            </a:p>
          </p:txBody>
        </p:sp>
      </p:grpSp>
      <p:pic>
        <p:nvPicPr>
          <p:cNvPr id="20" name="Grafik 19" descr="Ein Bild, das Kunst, Majorelle Blue, Raum, Electric Blue (Farbe) enthält.&#10;&#10;Beschreibung automatisch generiert.">
            <a:extLst>
              <a:ext uri="{FF2B5EF4-FFF2-40B4-BE49-F238E27FC236}">
                <a16:creationId xmlns:a16="http://schemas.microsoft.com/office/drawing/2014/main" id="{86753B4F-7B1A-0B50-EC5D-6E9E84A1AD46}"/>
              </a:ext>
            </a:extLst>
          </p:cNvPr>
          <p:cNvPicPr>
            <a:picLocks noChangeAspect="1"/>
          </p:cNvPicPr>
          <p:nvPr/>
        </p:nvPicPr>
        <p:blipFill>
          <a:blip r:embed="rId4"/>
          <a:stretch>
            <a:fillRect/>
          </a:stretch>
        </p:blipFill>
        <p:spPr>
          <a:xfrm>
            <a:off x="8460849" y="3841960"/>
            <a:ext cx="2745219" cy="1838556"/>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p:spPr>
      </p:pic>
      <p:sp>
        <p:nvSpPr>
          <p:cNvPr id="21" name="Textfeld 20">
            <a:extLst>
              <a:ext uri="{FF2B5EF4-FFF2-40B4-BE49-F238E27FC236}">
                <a16:creationId xmlns:a16="http://schemas.microsoft.com/office/drawing/2014/main" id="{9250F423-A4E6-5E6B-380C-0A9B0C640491}"/>
              </a:ext>
            </a:extLst>
          </p:cNvPr>
          <p:cNvSpPr txBox="1"/>
          <p:nvPr/>
        </p:nvSpPr>
        <p:spPr>
          <a:xfrm>
            <a:off x="1672859" y="1343556"/>
            <a:ext cx="6098540" cy="369332"/>
          </a:xfrm>
          <a:prstGeom prst="rect">
            <a:avLst/>
          </a:prstGeom>
          <a:noFill/>
        </p:spPr>
        <p:txBody>
          <a:bodyPr wrap="square">
            <a:spAutoFit/>
          </a:bodyPr>
          <a:lstStyle/>
          <a:p>
            <a:r>
              <a:rPr lang="en-US" dirty="0" err="1">
                <a:latin typeface="Trebuchet MS" panose="020B0603020202020204" pitchFamily="34" charset="0"/>
              </a:rPr>
              <a:t>Projekt</a:t>
            </a:r>
            <a:r>
              <a:rPr lang="en-US" dirty="0">
                <a:latin typeface="Trebuchet MS" panose="020B0603020202020204" pitchFamily="34" charset="0"/>
              </a:rPr>
              <a:t> Kick-Off</a:t>
            </a:r>
          </a:p>
        </p:txBody>
      </p:sp>
      <p:sp>
        <p:nvSpPr>
          <p:cNvPr id="29" name="Fußzeilenplatzhalter 28">
            <a:extLst>
              <a:ext uri="{FF2B5EF4-FFF2-40B4-BE49-F238E27FC236}">
                <a16:creationId xmlns:a16="http://schemas.microsoft.com/office/drawing/2014/main" id="{12B42A8E-8456-B27C-2AE9-A05D9E655F37}"/>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
        <p:nvSpPr>
          <p:cNvPr id="30" name="Foliennummernplatzhalter 29">
            <a:extLst>
              <a:ext uri="{FF2B5EF4-FFF2-40B4-BE49-F238E27FC236}">
                <a16:creationId xmlns:a16="http://schemas.microsoft.com/office/drawing/2014/main" id="{F0F99173-FC45-7A52-BEB2-2CC997A2662D}"/>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5</a:t>
            </a:fld>
            <a:r>
              <a:rPr lang="de-DE" spc="-10" dirty="0"/>
              <a:t> • </a:t>
            </a:r>
            <a:r>
              <a:rPr lang="de-DE" spc="-5" dirty="0"/>
              <a:t>Prof. </a:t>
            </a:r>
            <a:r>
              <a:rPr lang="de-DE" spc="-10" dirty="0"/>
              <a:t>Dr. Agnes Koschmider • Generative KI</a:t>
            </a:r>
            <a:endParaRPr lang="de-DE" dirty="0"/>
          </a:p>
        </p:txBody>
      </p:sp>
    </p:spTree>
    <p:extLst>
      <p:ext uri="{BB962C8B-B14F-4D97-AF65-F5344CB8AC3E}">
        <p14:creationId xmlns:p14="http://schemas.microsoft.com/office/powerpoint/2010/main" val="15437973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5D0755-4AC5-8501-449D-F1BBC055B486}"/>
              </a:ext>
            </a:extLst>
          </p:cNvPr>
          <p:cNvSpPr>
            <a:spLocks noGrp="1"/>
          </p:cNvSpPr>
          <p:nvPr>
            <p:ph type="title"/>
          </p:nvPr>
        </p:nvSpPr>
        <p:spPr/>
        <p:txBody>
          <a:bodyPr/>
          <a:lstStyle/>
          <a:p>
            <a:r>
              <a:rPr lang="en-US" dirty="0"/>
              <a:t>Tiny House  - </a:t>
            </a:r>
            <a:r>
              <a:rPr lang="en-US" dirty="0" err="1"/>
              <a:t>Reallabor</a:t>
            </a:r>
            <a:r>
              <a:rPr lang="en-US" dirty="0"/>
              <a:t> für </a:t>
            </a:r>
            <a:r>
              <a:rPr lang="en-US" dirty="0" err="1"/>
              <a:t>Evaluationen</a:t>
            </a:r>
            <a:r>
              <a:rPr lang="en-US" dirty="0"/>
              <a:t> und </a:t>
            </a:r>
            <a:r>
              <a:rPr lang="en-US" dirty="0" err="1"/>
              <a:t>Wissenschaftskommunikation</a:t>
            </a:r>
            <a:endParaRPr lang="en-DE" dirty="0"/>
          </a:p>
        </p:txBody>
      </p:sp>
      <p:pic>
        <p:nvPicPr>
          <p:cNvPr id="6" name="Inhaltsplatzhalter 11" descr="Ein Bild, das Screenshot, draußen, solar, Haus enthält.&#10;&#10;Beschreibung automatisch generiert.">
            <a:extLst>
              <a:ext uri="{FF2B5EF4-FFF2-40B4-BE49-F238E27FC236}">
                <a16:creationId xmlns:a16="http://schemas.microsoft.com/office/drawing/2014/main" id="{B456DEF9-C2C3-6C02-3D99-3A27A6C5ED2F}"/>
              </a:ext>
            </a:extLst>
          </p:cNvPr>
          <p:cNvPicPr>
            <a:picLocks noChangeAspect="1"/>
          </p:cNvPicPr>
          <p:nvPr/>
        </p:nvPicPr>
        <p:blipFill rotWithShape="1">
          <a:blip r:embed="rId2"/>
          <a:srcRect l="244" t="9327" r="32518" b="-217"/>
          <a:stretch/>
        </p:blipFill>
        <p:spPr>
          <a:xfrm>
            <a:off x="0" y="1499350"/>
            <a:ext cx="5994393" cy="4561125"/>
          </a:xfrm>
          <a:prstGeom prst="rect">
            <a:avLst/>
          </a:prstGeom>
        </p:spPr>
      </p:pic>
      <p:sp>
        <p:nvSpPr>
          <p:cNvPr id="7" name="Rechteck: abgerundete Ecken 5">
            <a:extLst>
              <a:ext uri="{FF2B5EF4-FFF2-40B4-BE49-F238E27FC236}">
                <a16:creationId xmlns:a16="http://schemas.microsoft.com/office/drawing/2014/main" id="{A4DE0ACD-B115-1E13-2159-D5859C83F50E}"/>
              </a:ext>
            </a:extLst>
          </p:cNvPr>
          <p:cNvSpPr>
            <a:spLocks noChangeAspect="1"/>
          </p:cNvSpPr>
          <p:nvPr/>
        </p:nvSpPr>
        <p:spPr bwMode="auto">
          <a:xfrm>
            <a:off x="6858000" y="2133600"/>
            <a:ext cx="4800600" cy="1864512"/>
          </a:xfrm>
          <a:prstGeom prst="roundRect">
            <a:avLst/>
          </a:prstGeom>
          <a:noFill/>
          <a:ln w="31750" cap="flat" cmpd="sng" algn="ctr">
            <a:solidFill>
              <a:srgbClr val="038A5E"/>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01713"/>
            <a:r>
              <a:rPr lang="de-DE" dirty="0">
                <a:latin typeface="Trebuchet MS"/>
              </a:rPr>
              <a:t>Evaluation:</a:t>
            </a:r>
          </a:p>
          <a:p>
            <a:pPr marL="285750" indent="-285750" defTabSz="1001713">
              <a:buFont typeface="Arial" panose="020B0604020202020204" pitchFamily="34" charset="0"/>
              <a:buChar char="•"/>
            </a:pPr>
            <a:r>
              <a:rPr lang="de-DE" dirty="0">
                <a:latin typeface="Trebuchet MS"/>
              </a:rPr>
              <a:t>Reallabor zum Erzeugen von IoT-Daten</a:t>
            </a:r>
          </a:p>
          <a:p>
            <a:pPr marL="285750" indent="-285750" defTabSz="1001713">
              <a:buFont typeface="Arial" panose="020B0604020202020204" pitchFamily="34" charset="0"/>
              <a:buChar char="•"/>
            </a:pPr>
            <a:endParaRPr lang="de-DE" dirty="0">
              <a:latin typeface="Trebuchet MS"/>
            </a:endParaRPr>
          </a:p>
          <a:p>
            <a:pPr defTabSz="1001713"/>
            <a:r>
              <a:rPr lang="de-DE" dirty="0">
                <a:latin typeface="Trebuchet MS"/>
              </a:rPr>
              <a:t>Wissenschaftskommunikation:</a:t>
            </a:r>
          </a:p>
          <a:p>
            <a:pPr marL="285750" indent="-285750" defTabSz="1001713">
              <a:buFont typeface="Arial" panose="020B0604020202020204" pitchFamily="34" charset="0"/>
              <a:buChar char="•"/>
            </a:pPr>
            <a:r>
              <a:rPr lang="de-DE" dirty="0">
                <a:latin typeface="Trebuchet MS"/>
              </a:rPr>
              <a:t>Mobiles, begehbares </a:t>
            </a:r>
            <a:r>
              <a:rPr lang="de-DE" dirty="0" err="1">
                <a:latin typeface="Trebuchet MS"/>
              </a:rPr>
              <a:t>Tinyhaus</a:t>
            </a:r>
            <a:endParaRPr lang="de-DE" dirty="0"/>
          </a:p>
        </p:txBody>
      </p:sp>
      <p:sp>
        <p:nvSpPr>
          <p:cNvPr id="15" name="Fußzeilenplatzhalter 14">
            <a:extLst>
              <a:ext uri="{FF2B5EF4-FFF2-40B4-BE49-F238E27FC236}">
                <a16:creationId xmlns:a16="http://schemas.microsoft.com/office/drawing/2014/main" id="{420E6FE1-CF7F-1A86-55F0-4F046389C812}"/>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
        <p:nvSpPr>
          <p:cNvPr id="16" name="Foliennummernplatzhalter 15">
            <a:extLst>
              <a:ext uri="{FF2B5EF4-FFF2-40B4-BE49-F238E27FC236}">
                <a16:creationId xmlns:a16="http://schemas.microsoft.com/office/drawing/2014/main" id="{D626E032-257C-D83B-4C35-A2A54715DB65}"/>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6</a:t>
            </a:fld>
            <a:r>
              <a:rPr lang="de-DE" spc="-10" dirty="0"/>
              <a:t> • </a:t>
            </a:r>
            <a:r>
              <a:rPr lang="de-DE" spc="-5" dirty="0"/>
              <a:t>Prof. </a:t>
            </a:r>
            <a:r>
              <a:rPr lang="de-DE" spc="-10" dirty="0"/>
              <a:t>Dr. Agnes Koschmider • Generative KI</a:t>
            </a:r>
            <a:endParaRPr lang="de-DE" dirty="0"/>
          </a:p>
        </p:txBody>
      </p:sp>
    </p:spTree>
    <p:extLst>
      <p:ext uri="{BB962C8B-B14F-4D97-AF65-F5344CB8AC3E}">
        <p14:creationId xmlns:p14="http://schemas.microsoft.com/office/powerpoint/2010/main" val="1417094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F4EC3E-BB08-4398-AC6B-945B846CD9AF}"/>
              </a:ext>
            </a:extLst>
          </p:cNvPr>
          <p:cNvSpPr>
            <a:spLocks noGrp="1"/>
          </p:cNvSpPr>
          <p:nvPr>
            <p:ph type="title"/>
          </p:nvPr>
        </p:nvSpPr>
        <p:spPr/>
        <p:txBody>
          <a:bodyPr/>
          <a:lstStyle/>
          <a:p>
            <a:r>
              <a:rPr lang="de-DE" dirty="0"/>
              <a:t>Themen Abschlussarbeiten</a:t>
            </a:r>
          </a:p>
        </p:txBody>
      </p:sp>
      <p:sp>
        <p:nvSpPr>
          <p:cNvPr id="3" name="Textplatzhalter 2">
            <a:extLst>
              <a:ext uri="{FF2B5EF4-FFF2-40B4-BE49-F238E27FC236}">
                <a16:creationId xmlns:a16="http://schemas.microsoft.com/office/drawing/2014/main" id="{B570DFCF-B102-74AE-4B4F-6F8CF3B0D912}"/>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C2119DBD-DEC0-91F5-7EF0-C921A5AAC073}"/>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7</a:t>
            </a:fld>
            <a:r>
              <a:rPr lang="de-DE" spc="-10" dirty="0"/>
              <a:t> • </a:t>
            </a:r>
            <a:r>
              <a:rPr lang="de-DE" spc="-5" dirty="0"/>
              <a:t>Prof. </a:t>
            </a:r>
            <a:r>
              <a:rPr lang="de-DE" spc="-10" dirty="0"/>
              <a:t>Dr. Agnes Koschmider • Generative KI</a:t>
            </a:r>
          </a:p>
        </p:txBody>
      </p:sp>
      <p:sp>
        <p:nvSpPr>
          <p:cNvPr id="5" name="Fußzeilenplatzhalter 4">
            <a:extLst>
              <a:ext uri="{FF2B5EF4-FFF2-40B4-BE49-F238E27FC236}">
                <a16:creationId xmlns:a16="http://schemas.microsoft.com/office/drawing/2014/main" id="{D464D0D9-77C0-65A9-90A7-521B7B60FE49}"/>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
        <p:nvSpPr>
          <p:cNvPr id="7" name="Textfeld 6">
            <a:extLst>
              <a:ext uri="{FF2B5EF4-FFF2-40B4-BE49-F238E27FC236}">
                <a16:creationId xmlns:a16="http://schemas.microsoft.com/office/drawing/2014/main" id="{FE00C792-9A21-5FC8-731A-808597EFA6DF}"/>
              </a:ext>
            </a:extLst>
          </p:cNvPr>
          <p:cNvSpPr txBox="1"/>
          <p:nvPr/>
        </p:nvSpPr>
        <p:spPr>
          <a:xfrm>
            <a:off x="160185" y="788424"/>
            <a:ext cx="6100548" cy="307777"/>
          </a:xfrm>
          <a:prstGeom prst="rect">
            <a:avLst/>
          </a:prstGeom>
          <a:noFill/>
        </p:spPr>
        <p:txBody>
          <a:bodyPr wrap="square">
            <a:spAutoFit/>
          </a:bodyPr>
          <a:lstStyle/>
          <a:p>
            <a:r>
              <a:rPr lang="de-DE" sz="1400" dirty="0"/>
              <a:t>https://www.pa.uni-bayreuth.de/de/abschlussarbeiten/index.html</a:t>
            </a:r>
          </a:p>
        </p:txBody>
      </p:sp>
      <p:pic>
        <p:nvPicPr>
          <p:cNvPr id="9" name="Grafik 8" descr="Ein Bild, das Text, Screenshot, Schrift, Webseite enthält.&#10;&#10;Automatisch generierte Beschreibung">
            <a:extLst>
              <a:ext uri="{FF2B5EF4-FFF2-40B4-BE49-F238E27FC236}">
                <a16:creationId xmlns:a16="http://schemas.microsoft.com/office/drawing/2014/main" id="{F84D9C38-C40B-657B-E1DF-E67A1F0642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71600" y="1726453"/>
            <a:ext cx="7880679" cy="4087488"/>
          </a:xfrm>
          <a:prstGeom prst="rect">
            <a:avLst/>
          </a:prstGeom>
        </p:spPr>
      </p:pic>
      <p:sp>
        <p:nvSpPr>
          <p:cNvPr id="10" name="Pfeil: nach rechts 9">
            <a:extLst>
              <a:ext uri="{FF2B5EF4-FFF2-40B4-BE49-F238E27FC236}">
                <a16:creationId xmlns:a16="http://schemas.microsoft.com/office/drawing/2014/main" id="{DFACED70-F452-9456-6C25-1A4C4183C4B2}"/>
              </a:ext>
            </a:extLst>
          </p:cNvPr>
          <p:cNvSpPr/>
          <p:nvPr/>
        </p:nvSpPr>
        <p:spPr>
          <a:xfrm>
            <a:off x="838200" y="2216603"/>
            <a:ext cx="381000" cy="228600"/>
          </a:xfrm>
          <a:prstGeom prst="rightArrow">
            <a:avLst/>
          </a:prstGeom>
          <a:solidFill>
            <a:srgbClr val="00A070"/>
          </a:solidFill>
          <a:ln>
            <a:solidFill>
              <a:srgbClr val="00A0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181946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CB36C6-BA53-E000-33B1-4C33533923BC}"/>
              </a:ext>
            </a:extLst>
          </p:cNvPr>
          <p:cNvSpPr>
            <a:spLocks noGrp="1"/>
          </p:cNvSpPr>
          <p:nvPr>
            <p:ph type="title"/>
          </p:nvPr>
        </p:nvSpPr>
        <p:spPr/>
        <p:txBody>
          <a:bodyPr/>
          <a:lstStyle/>
          <a:p>
            <a:r>
              <a:rPr lang="en-US" dirty="0" err="1"/>
              <a:t>Organisation</a:t>
            </a:r>
            <a:endParaRPr lang="en-DE" dirty="0"/>
          </a:p>
        </p:txBody>
      </p:sp>
      <p:sp>
        <p:nvSpPr>
          <p:cNvPr id="3" name="Inhaltsplatzhalter 2">
            <a:extLst>
              <a:ext uri="{FF2B5EF4-FFF2-40B4-BE49-F238E27FC236}">
                <a16:creationId xmlns:a16="http://schemas.microsoft.com/office/drawing/2014/main" id="{6045AC74-D591-4FF3-01B4-6FC8E1889A4F}"/>
              </a:ext>
            </a:extLst>
          </p:cNvPr>
          <p:cNvSpPr>
            <a:spLocks noGrp="1"/>
          </p:cNvSpPr>
          <p:nvPr>
            <p:ph type="body" idx="1"/>
          </p:nvPr>
        </p:nvSpPr>
        <p:spPr>
          <a:xfrm>
            <a:off x="287860" y="1274313"/>
            <a:ext cx="11616287" cy="3600986"/>
          </a:xfrm>
        </p:spPr>
        <p:txBody>
          <a:bodyPr/>
          <a:lstStyle/>
          <a:p>
            <a:r>
              <a:rPr lang="de-DE" b="1" dirty="0"/>
              <a:t>Vorlesung</a:t>
            </a:r>
          </a:p>
          <a:p>
            <a:pPr lvl="1"/>
            <a:r>
              <a:rPr lang="de-DE" dirty="0"/>
              <a:t>dienstags von 14:15-15:45 Uhr</a:t>
            </a:r>
          </a:p>
          <a:p>
            <a:endParaRPr lang="de-DE" dirty="0"/>
          </a:p>
          <a:p>
            <a:endParaRPr lang="de-DE" dirty="0"/>
          </a:p>
          <a:p>
            <a:r>
              <a:rPr lang="de-DE" b="1" dirty="0"/>
              <a:t>Übung</a:t>
            </a:r>
          </a:p>
          <a:p>
            <a:pPr lvl="1"/>
            <a:r>
              <a:rPr lang="de-DE" dirty="0"/>
              <a:t>donnerstags von 16:00-17:30 Uhr</a:t>
            </a:r>
            <a:br>
              <a:rPr lang="de-DE" dirty="0"/>
            </a:br>
            <a:r>
              <a:rPr lang="de-DE" dirty="0"/>
              <a:t>(siehe Übungsplan weiter unten)</a:t>
            </a:r>
          </a:p>
          <a:p>
            <a:pPr lvl="1"/>
            <a:endParaRPr lang="de-DE" dirty="0"/>
          </a:p>
          <a:p>
            <a:endParaRPr lang="de-DE" dirty="0"/>
          </a:p>
          <a:p>
            <a:r>
              <a:rPr lang="de-DE" b="1" dirty="0"/>
              <a:t>Klausur</a:t>
            </a:r>
          </a:p>
          <a:p>
            <a:pPr lvl="1"/>
            <a:r>
              <a:rPr lang="de-DE" dirty="0"/>
              <a:t>schriftlich</a:t>
            </a:r>
          </a:p>
          <a:p>
            <a:endParaRPr lang="de-DE" dirty="0"/>
          </a:p>
          <a:p>
            <a:endParaRPr lang="en-DE" dirty="0"/>
          </a:p>
        </p:txBody>
      </p:sp>
      <p:sp>
        <p:nvSpPr>
          <p:cNvPr id="4" name="Inhaltsplatzhalter 3">
            <a:extLst>
              <a:ext uri="{FF2B5EF4-FFF2-40B4-BE49-F238E27FC236}">
                <a16:creationId xmlns:a16="http://schemas.microsoft.com/office/drawing/2014/main" id="{10F35478-FB93-FE2B-39E6-812FB73815E3}"/>
              </a:ext>
            </a:extLst>
          </p:cNvPr>
          <p:cNvSpPr>
            <a:spLocks noGrp="1"/>
          </p:cNvSpPr>
          <p:nvPr>
            <p:ph idx="4294967295"/>
          </p:nvPr>
        </p:nvSpPr>
        <p:spPr>
          <a:xfrm>
            <a:off x="5323978" y="1377409"/>
            <a:ext cx="6853237" cy="2215991"/>
          </a:xfrm>
        </p:spPr>
        <p:txBody>
          <a:bodyPr/>
          <a:lstStyle/>
          <a:p>
            <a:r>
              <a:rPr lang="en-US" b="1" dirty="0" err="1"/>
              <a:t>Sprechstunde</a:t>
            </a:r>
            <a:r>
              <a:rPr lang="en-US" dirty="0"/>
              <a:t> – Prof. Dr. Agnes Koschmider</a:t>
            </a:r>
          </a:p>
          <a:p>
            <a:pPr marL="539750"/>
            <a:r>
              <a:rPr lang="en-US" dirty="0"/>
              <a:t>bitte per E-Mail </a:t>
            </a:r>
            <a:r>
              <a:rPr lang="en-US" dirty="0" err="1"/>
              <a:t>anmelden</a:t>
            </a:r>
            <a:endParaRPr lang="en-US" dirty="0"/>
          </a:p>
          <a:p>
            <a:endParaRPr lang="en-US" dirty="0"/>
          </a:p>
          <a:p>
            <a:endParaRPr lang="en-US" dirty="0"/>
          </a:p>
          <a:p>
            <a:r>
              <a:rPr lang="en-US" b="1" dirty="0"/>
              <a:t>E-Mail</a:t>
            </a:r>
          </a:p>
          <a:p>
            <a:pPr marL="539750"/>
            <a:r>
              <a:rPr lang="en-US" dirty="0"/>
              <a:t>agnes.koschmider@uni-bayreuth.de</a:t>
            </a:r>
          </a:p>
          <a:p>
            <a:endParaRPr lang="en-US" dirty="0"/>
          </a:p>
          <a:p>
            <a:endParaRPr lang="en-DE" dirty="0"/>
          </a:p>
        </p:txBody>
      </p:sp>
      <p:sp>
        <p:nvSpPr>
          <p:cNvPr id="6" name="Footer Placeholder 5">
            <a:extLst>
              <a:ext uri="{FF2B5EF4-FFF2-40B4-BE49-F238E27FC236}">
                <a16:creationId xmlns:a16="http://schemas.microsoft.com/office/drawing/2014/main" id="{3AF000A3-72B8-4B18-9940-D75FE8DCD30E}"/>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
        <p:nvSpPr>
          <p:cNvPr id="7" name="Slide Number Placeholder 6">
            <a:extLst>
              <a:ext uri="{FF2B5EF4-FFF2-40B4-BE49-F238E27FC236}">
                <a16:creationId xmlns:a16="http://schemas.microsoft.com/office/drawing/2014/main" id="{674F5955-9D0E-4EC9-B1DD-EF689B94F260}"/>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8</a:t>
            </a:fld>
            <a:r>
              <a:rPr lang="de-DE" spc="-10" dirty="0"/>
              <a:t> • </a:t>
            </a:r>
            <a:r>
              <a:rPr lang="de-DE" spc="-5" dirty="0"/>
              <a:t>Prof. </a:t>
            </a:r>
            <a:r>
              <a:rPr lang="de-DE" spc="-10" dirty="0"/>
              <a:t>Dr. Agnes Koschmider • Generative KI</a:t>
            </a:r>
          </a:p>
        </p:txBody>
      </p:sp>
    </p:spTree>
    <p:extLst>
      <p:ext uri="{BB962C8B-B14F-4D97-AF65-F5344CB8AC3E}">
        <p14:creationId xmlns:p14="http://schemas.microsoft.com/office/powerpoint/2010/main" val="5120906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990600" y="1524000"/>
            <a:ext cx="7600315" cy="3287438"/>
          </a:xfrm>
          <a:prstGeom prst="rect">
            <a:avLst/>
          </a:prstGeom>
        </p:spPr>
        <p:txBody>
          <a:bodyPr vert="horz" wrap="square" lIns="0" tIns="93345" rIns="0" bIns="0" rtlCol="0">
            <a:spAutoFit/>
          </a:bodyPr>
          <a:lstStyle/>
          <a:p>
            <a:pPr marL="12700">
              <a:spcBef>
                <a:spcPts val="735"/>
              </a:spcBef>
            </a:pPr>
            <a:r>
              <a:rPr sz="2150" b="1" spc="-10" dirty="0">
                <a:latin typeface="Trebuchet MS"/>
                <a:cs typeface="Trebuchet MS"/>
              </a:rPr>
              <a:t>Anrechenbarkeit</a:t>
            </a:r>
            <a:endParaRPr sz="2150" dirty="0">
              <a:latin typeface="Trebuchet MS"/>
              <a:cs typeface="Trebuchet MS"/>
            </a:endParaRPr>
          </a:p>
          <a:p>
            <a:pPr marL="337193" indent="-325128">
              <a:spcBef>
                <a:spcPts val="520"/>
              </a:spcBef>
              <a:buFont typeface="Wingdings"/>
              <a:buChar char=""/>
              <a:tabLst>
                <a:tab pos="337193" algn="l"/>
                <a:tab pos="337829" algn="l"/>
              </a:tabLst>
            </a:pPr>
            <a:r>
              <a:rPr lang="de-DE" dirty="0">
                <a:latin typeface="Trebuchet MS"/>
                <a:cs typeface="Trebuchet MS"/>
              </a:rPr>
              <a:t>Master Betriebswirtschaftslehre</a:t>
            </a:r>
          </a:p>
          <a:p>
            <a:pPr marL="337193" indent="-325128">
              <a:spcBef>
                <a:spcPts val="520"/>
              </a:spcBef>
              <a:buFont typeface="Wingdings"/>
              <a:buChar char=""/>
              <a:tabLst>
                <a:tab pos="337193" algn="l"/>
                <a:tab pos="337829" algn="l"/>
              </a:tabLst>
            </a:pPr>
            <a:r>
              <a:rPr lang="de-DE" spc="-10" dirty="0">
                <a:latin typeface="Trebuchet MS"/>
                <a:cs typeface="Trebuchet MS"/>
              </a:rPr>
              <a:t>Master Digitalisierung &amp; Entrepreneurship</a:t>
            </a:r>
          </a:p>
          <a:p>
            <a:pPr marL="337193" indent="-325128">
              <a:spcBef>
                <a:spcPts val="520"/>
              </a:spcBef>
              <a:buFont typeface="Wingdings"/>
              <a:buChar char=""/>
              <a:tabLst>
                <a:tab pos="337193" algn="l"/>
                <a:tab pos="337829" algn="l"/>
              </a:tabLst>
            </a:pPr>
            <a:r>
              <a:rPr lang="de-DE" spc="-10" dirty="0">
                <a:latin typeface="Trebuchet MS"/>
                <a:cs typeface="Trebuchet MS"/>
              </a:rPr>
              <a:t>Master Sportökonomie</a:t>
            </a:r>
          </a:p>
          <a:p>
            <a:pPr marL="337193" indent="-325128">
              <a:spcBef>
                <a:spcPts val="520"/>
              </a:spcBef>
              <a:buFont typeface="Wingdings"/>
              <a:buChar char=""/>
              <a:tabLst>
                <a:tab pos="337193" algn="l"/>
                <a:tab pos="337829" algn="l"/>
              </a:tabLst>
            </a:pPr>
            <a:r>
              <a:rPr lang="de-DE" spc="-10" dirty="0">
                <a:latin typeface="Trebuchet MS"/>
                <a:cs typeface="Trebuchet MS"/>
              </a:rPr>
              <a:t>Master Wirtschaftsingenieurwesen</a:t>
            </a:r>
          </a:p>
          <a:p>
            <a:pPr marL="337193" indent="-325128">
              <a:spcBef>
                <a:spcPts val="520"/>
              </a:spcBef>
              <a:buFont typeface="Wingdings"/>
              <a:buChar char=""/>
              <a:tabLst>
                <a:tab pos="337193" algn="l"/>
                <a:tab pos="337829" algn="l"/>
              </a:tabLst>
            </a:pPr>
            <a:r>
              <a:rPr lang="de-DE" spc="-10" dirty="0">
                <a:latin typeface="Trebuchet MS"/>
                <a:cs typeface="Trebuchet MS"/>
              </a:rPr>
              <a:t>Zukünftig: Master Wirtschaftsinformatik</a:t>
            </a:r>
          </a:p>
          <a:p>
            <a:pPr>
              <a:lnSpc>
                <a:spcPct val="100000"/>
              </a:lnSpc>
            </a:pPr>
            <a:endParaRPr lang="de-DE" sz="2100" dirty="0">
              <a:latin typeface="Trebuchet MS"/>
              <a:cs typeface="Trebuchet MS"/>
            </a:endParaRPr>
          </a:p>
          <a:p>
            <a:pPr>
              <a:lnSpc>
                <a:spcPct val="100000"/>
              </a:lnSpc>
            </a:pPr>
            <a:endParaRPr sz="2100" dirty="0">
              <a:latin typeface="Trebuchet MS"/>
              <a:cs typeface="Trebuchet MS"/>
            </a:endParaRPr>
          </a:p>
          <a:p>
            <a:pPr marL="12700">
              <a:spcBef>
                <a:spcPts val="1355"/>
              </a:spcBef>
            </a:pPr>
            <a:r>
              <a:rPr sz="2150" b="1" spc="5" dirty="0">
                <a:solidFill>
                  <a:srgbClr val="03895E"/>
                </a:solidFill>
                <a:latin typeface="Trebuchet MS"/>
                <a:cs typeface="Trebuchet MS"/>
              </a:rPr>
              <a:t>Die </a:t>
            </a:r>
            <a:r>
              <a:rPr sz="2150" b="1" spc="-10" dirty="0">
                <a:solidFill>
                  <a:srgbClr val="03895E"/>
                </a:solidFill>
                <a:latin typeface="Trebuchet MS"/>
                <a:cs typeface="Trebuchet MS"/>
              </a:rPr>
              <a:t>Anrechnung </a:t>
            </a:r>
            <a:r>
              <a:rPr sz="2150" b="1" dirty="0">
                <a:solidFill>
                  <a:srgbClr val="03895E"/>
                </a:solidFill>
                <a:latin typeface="Trebuchet MS"/>
                <a:cs typeface="Trebuchet MS"/>
              </a:rPr>
              <a:t>erfolgt für alle </a:t>
            </a:r>
            <a:r>
              <a:rPr lang="de-DE" sz="2150" b="1" dirty="0">
                <a:solidFill>
                  <a:srgbClr val="03895E"/>
                </a:solidFill>
                <a:latin typeface="Trebuchet MS"/>
                <a:cs typeface="Trebuchet MS"/>
              </a:rPr>
              <a:t>Studiengänge </a:t>
            </a:r>
            <a:r>
              <a:rPr sz="2150" b="1" spc="-5" dirty="0" err="1">
                <a:solidFill>
                  <a:srgbClr val="03895E"/>
                </a:solidFill>
                <a:latin typeface="Trebuchet MS"/>
                <a:cs typeface="Trebuchet MS"/>
              </a:rPr>
              <a:t>mit</a:t>
            </a:r>
            <a:r>
              <a:rPr sz="2150" b="1" spc="-5" dirty="0">
                <a:solidFill>
                  <a:srgbClr val="03895E"/>
                </a:solidFill>
                <a:latin typeface="Trebuchet MS"/>
                <a:cs typeface="Trebuchet MS"/>
              </a:rPr>
              <a:t> </a:t>
            </a:r>
            <a:r>
              <a:rPr lang="de-DE" sz="2150" b="1" spc="-5" dirty="0">
                <a:solidFill>
                  <a:srgbClr val="03895E"/>
                </a:solidFill>
                <a:latin typeface="Trebuchet MS"/>
                <a:cs typeface="Trebuchet MS"/>
              </a:rPr>
              <a:t>6</a:t>
            </a:r>
            <a:r>
              <a:rPr sz="2150" b="1" spc="-100" dirty="0">
                <a:solidFill>
                  <a:srgbClr val="03895E"/>
                </a:solidFill>
                <a:latin typeface="Trebuchet MS"/>
                <a:cs typeface="Trebuchet MS"/>
              </a:rPr>
              <a:t> </a:t>
            </a:r>
            <a:r>
              <a:rPr sz="2150" b="1" dirty="0">
                <a:solidFill>
                  <a:srgbClr val="03895E"/>
                </a:solidFill>
                <a:latin typeface="Trebuchet MS"/>
                <a:cs typeface="Trebuchet MS"/>
              </a:rPr>
              <a:t>ECTS</a:t>
            </a:r>
            <a:endParaRPr sz="2150" dirty="0">
              <a:latin typeface="Trebuchet MS"/>
              <a:cs typeface="Trebuchet MS"/>
            </a:endParaRPr>
          </a:p>
        </p:txBody>
      </p:sp>
      <p:sp>
        <p:nvSpPr>
          <p:cNvPr id="5" name="object 5"/>
          <p:cNvSpPr txBox="1">
            <a:spLocks noGrp="1"/>
          </p:cNvSpPr>
          <p:nvPr>
            <p:ph type="title"/>
          </p:nvPr>
        </p:nvSpPr>
        <p:spPr>
          <a:xfrm>
            <a:off x="192088" y="398463"/>
            <a:ext cx="10094912" cy="382156"/>
          </a:xfrm>
        </p:spPr>
        <p:txBody>
          <a:bodyPr vert="horz" wrap="square" lIns="0" tIns="12700" rIns="0" bIns="0" rtlCol="0">
            <a:spAutoFit/>
          </a:bodyPr>
          <a:lstStyle/>
          <a:p>
            <a:r>
              <a:rPr lang="de-DE" dirty="0"/>
              <a:t>Anrechenbarkeiten der Veranstaltung</a:t>
            </a:r>
          </a:p>
        </p:txBody>
      </p:sp>
      <p:sp>
        <p:nvSpPr>
          <p:cNvPr id="2" name="Footer Placeholder 1">
            <a:extLst>
              <a:ext uri="{FF2B5EF4-FFF2-40B4-BE49-F238E27FC236}">
                <a16:creationId xmlns:a16="http://schemas.microsoft.com/office/drawing/2014/main" id="{742A2DB6-2CFF-4156-88EA-1A2181C55D72}"/>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
        <p:nvSpPr>
          <p:cNvPr id="3" name="Slide Number Placeholder 2">
            <a:extLst>
              <a:ext uri="{FF2B5EF4-FFF2-40B4-BE49-F238E27FC236}">
                <a16:creationId xmlns:a16="http://schemas.microsoft.com/office/drawing/2014/main" id="{DF1C67C8-53DA-46E4-B6E1-926C0B11BD52}"/>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9</a:t>
            </a:fld>
            <a:r>
              <a:rPr lang="de-DE" spc="-10" dirty="0"/>
              <a:t> • </a:t>
            </a:r>
            <a:r>
              <a:rPr lang="de-DE" spc="-5" dirty="0"/>
              <a:t>Prof. </a:t>
            </a:r>
            <a:r>
              <a:rPr lang="de-DE" spc="-10" dirty="0"/>
              <a:t>Dr. Agnes Koschmider • Generative KI</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bucvdorTuaUpZps2YTMjg"/>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Two_columns_of_icon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7467</Words>
  <Application>Microsoft Office PowerPoint</Application>
  <PresentationFormat>Breitbild</PresentationFormat>
  <Paragraphs>1065</Paragraphs>
  <Slides>44</Slides>
  <Notes>29</Notes>
  <HiddenSlides>2</HiddenSlides>
  <MMClips>0</MMClips>
  <ScaleCrop>false</ScaleCrop>
  <HeadingPairs>
    <vt:vector size="8" baseType="variant">
      <vt:variant>
        <vt:lpstr>Verwendete Schriftarten</vt:lpstr>
      </vt:variant>
      <vt:variant>
        <vt:i4>14</vt:i4>
      </vt:variant>
      <vt:variant>
        <vt:lpstr>Design</vt:lpstr>
      </vt:variant>
      <vt:variant>
        <vt:i4>1</vt:i4>
      </vt:variant>
      <vt:variant>
        <vt:lpstr>Eingebettete OLE-Server</vt:lpstr>
      </vt:variant>
      <vt:variant>
        <vt:i4>1</vt:i4>
      </vt:variant>
      <vt:variant>
        <vt:lpstr>Folientitel</vt:lpstr>
      </vt:variant>
      <vt:variant>
        <vt:i4>44</vt:i4>
      </vt:variant>
    </vt:vector>
  </HeadingPairs>
  <TitlesOfParts>
    <vt:vector size="60" baseType="lpstr">
      <vt:lpstr>Arial</vt:lpstr>
      <vt:lpstr>Arial Black</vt:lpstr>
      <vt:lpstr>Calibri</vt:lpstr>
      <vt:lpstr>ColfaxAI</vt:lpstr>
      <vt:lpstr>Courier New</vt:lpstr>
      <vt:lpstr>Franklin</vt:lpstr>
      <vt:lpstr>Georgia</vt:lpstr>
      <vt:lpstr>Open Sans</vt:lpstr>
      <vt:lpstr>Postoni Standard</vt:lpstr>
      <vt:lpstr>Söhne</vt:lpstr>
      <vt:lpstr>Times New Roman</vt:lpstr>
      <vt:lpstr>Trebuchet MS</vt:lpstr>
      <vt:lpstr>Trebuchet MS (Überschriften)</vt:lpstr>
      <vt:lpstr>Wingdings</vt:lpstr>
      <vt:lpstr>Office Theme</vt:lpstr>
      <vt:lpstr>think-cell Folie</vt:lpstr>
      <vt:lpstr>Generative KI</vt:lpstr>
      <vt:lpstr>Vorstellung Prof. Dr. Agnes Koschmider Professorin für Wirtschaftsinformatik</vt:lpstr>
      <vt:lpstr>Forschung Process Analytics</vt:lpstr>
      <vt:lpstr>Forschung Generative KI</vt:lpstr>
      <vt:lpstr>Synthetische Daten</vt:lpstr>
      <vt:lpstr>Tiny House  - Reallabor für Evaluationen und Wissenschaftskommunikation</vt:lpstr>
      <vt:lpstr>Themen Abschlussarbeiten</vt:lpstr>
      <vt:lpstr>Organisation</vt:lpstr>
      <vt:lpstr>Anrechenbarkeiten der Veranstaltung</vt:lpstr>
      <vt:lpstr>Kurs-Übersicht „Wirtschaftsinformatik und Process Analytics“</vt:lpstr>
      <vt:lpstr>Organisation: Termine Vorlesung &amp; Übung</vt:lpstr>
      <vt:lpstr>Übung</vt:lpstr>
      <vt:lpstr>Nützliche Links</vt:lpstr>
      <vt:lpstr>Themengebiete der Lehrveranstaltung</vt:lpstr>
      <vt:lpstr>Literatur</vt:lpstr>
      <vt:lpstr>Künstliche intelligenz (KI) kann vieles…</vt:lpstr>
      <vt:lpstr>Warum ausgerechnet jetzt? 4 Entwicklungen ermöglichen die Anwendung von KI</vt:lpstr>
      <vt:lpstr>Wo liegen die Grenzen von ChatGPT?</vt:lpstr>
      <vt:lpstr>Large Language Models basieren auf Wahrscheinlichkeiten</vt:lpstr>
      <vt:lpstr>Das LLM antwortet nicht auf jede Frage … … aber es lässt sich täuschen </vt:lpstr>
      <vt:lpstr> Generelle Guidelines für Prompt Engineering</vt:lpstr>
      <vt:lpstr>https://chat.openai.com/</vt:lpstr>
      <vt:lpstr>Was gilt es beim Verfassen von Prompts zu beachten?</vt:lpstr>
      <vt:lpstr>Artificial Intelligence (AI)</vt:lpstr>
      <vt:lpstr>Machine Learning</vt:lpstr>
      <vt:lpstr>Was Machine Learning von klassischer Modellierung unterscheidet </vt:lpstr>
      <vt:lpstr>Was Machine Learning von klassischer Modellierung unterscheidet </vt:lpstr>
      <vt:lpstr>Generative AI</vt:lpstr>
      <vt:lpstr>Large Language Models (LLMs)</vt:lpstr>
      <vt:lpstr>Wie werden LLMs trainiert?</vt:lpstr>
      <vt:lpstr>Welche Daten werden zum Trainieren von LLMs verwendet?</vt:lpstr>
      <vt:lpstr>Large Language Models basieren auf Wahrscheinlichkeiten</vt:lpstr>
      <vt:lpstr>Large Language Models basieren auf Wahrscheinlichkeiten</vt:lpstr>
      <vt:lpstr>Conversational Agents</vt:lpstr>
      <vt:lpstr>ChatGPT – Ein innovativer Conversational Agent</vt:lpstr>
      <vt:lpstr>Wie sich ChatGPT merkt, was „vorher“ gesagt wurde</vt:lpstr>
      <vt:lpstr>Best Practice zur inhaltlichen Gestaltung von Prompts -  (1) Zielstellung konkretisieren</vt:lpstr>
      <vt:lpstr>Schreiben mit ChatGPT</vt:lpstr>
      <vt:lpstr>Zusammenfassen &amp; Kürzen</vt:lpstr>
      <vt:lpstr>Key Takeaways für das erfolgreiche Arbeiten mit ChatGPT</vt:lpstr>
      <vt:lpstr>PowerPoint-Präsentation</vt:lpstr>
      <vt:lpstr>QR-Code für die Kursanmeldung</vt:lpstr>
      <vt:lpstr>Organisation</vt:lpstr>
      <vt:lpstr>Forschung Generative K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Intelligence SS 2019</dc:title>
  <dc:creator>Vadim Rägo</dc:creator>
  <cp:lastModifiedBy>Koschmider, Agnes</cp:lastModifiedBy>
  <cp:revision>85</cp:revision>
  <dcterms:created xsi:type="dcterms:W3CDTF">2023-01-03T15:27:45Z</dcterms:created>
  <dcterms:modified xsi:type="dcterms:W3CDTF">2024-04-12T15:4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0-04-17T00:00:00Z</vt:filetime>
  </property>
  <property fmtid="{D5CDD505-2E9C-101B-9397-08002B2CF9AE}" pid="3" name="Creator">
    <vt:lpwstr>Microsoft® PowerPoint® 2019</vt:lpwstr>
  </property>
  <property fmtid="{D5CDD505-2E9C-101B-9397-08002B2CF9AE}" pid="4" name="LastSaved">
    <vt:filetime>2023-01-03T00:00:00Z</vt:filetime>
  </property>
</Properties>
</file>